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doc" ContentType="application/msword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256" r:id="rId2"/>
    <p:sldId id="293" r:id="rId3"/>
    <p:sldId id="522" r:id="rId4"/>
    <p:sldId id="523" r:id="rId5"/>
    <p:sldId id="524" r:id="rId6"/>
    <p:sldId id="558" r:id="rId7"/>
    <p:sldId id="557" r:id="rId8"/>
    <p:sldId id="559" r:id="rId9"/>
    <p:sldId id="525" r:id="rId10"/>
    <p:sldId id="561" r:id="rId11"/>
    <p:sldId id="562" r:id="rId12"/>
    <p:sldId id="563" r:id="rId13"/>
    <p:sldId id="564" r:id="rId14"/>
    <p:sldId id="565" r:id="rId15"/>
    <p:sldId id="527" r:id="rId16"/>
    <p:sldId id="566" r:id="rId17"/>
    <p:sldId id="556" r:id="rId18"/>
    <p:sldId id="359" r:id="rId19"/>
    <p:sldId id="567" r:id="rId20"/>
  </p:sldIdLst>
  <p:sldSz cx="9144000" cy="6858000" type="screen4x3"/>
  <p:notesSz cx="6934200" cy="9280525"/>
  <p:defaultTextStyle>
    <a:defPPr>
      <a:defRPr lang="en-GB"/>
    </a:defPPr>
    <a:lvl1pPr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1pPr>
    <a:lvl2pPr marL="742950" indent="-28575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2pPr>
    <a:lvl3pPr marL="11430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3pPr>
    <a:lvl4pPr marL="16002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4pPr>
    <a:lvl5pPr marL="20574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5749" autoAdjust="0"/>
    <p:restoredTop sz="94660"/>
  </p:normalViewPr>
  <p:slideViewPr>
    <p:cSldViewPr snapToGrid="0">
      <p:cViewPr varScale="1">
        <p:scale>
          <a:sx n="122" d="100"/>
          <a:sy n="122" d="100"/>
        </p:scale>
        <p:origin x="776" y="200"/>
      </p:cViewPr>
      <p:guideLst>
        <p:guide orient="horz" pos="2160"/>
        <p:guide pos="2880"/>
      </p:guideLst>
    </p:cSldViewPr>
  </p:slideViewPr>
  <p:outlineViewPr>
    <p:cViewPr varScale="1">
      <p:scale>
        <a:sx n="170" d="200"/>
        <a:sy n="170" d="200"/>
      </p:scale>
      <p:origin x="-780" y="-84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 varScale="1">
        <p:scale>
          <a:sx n="123" d="100"/>
          <a:sy n="123" d="100"/>
        </p:scale>
        <p:origin x="4674" y="10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doc.: IEEE 802.11-18/810r1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27475" y="0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November 2018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5388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Jerome Henry, Cisco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27475" y="8815388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996500-462A-4966-9632-4197CBF31A0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337442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AutoShape 1"/>
          <p:cNvSpPr>
            <a:spLocks noChangeArrowheads="1"/>
          </p:cNvSpPr>
          <p:nvPr/>
        </p:nvSpPr>
        <p:spPr bwMode="auto">
          <a:xfrm>
            <a:off x="0" y="0"/>
            <a:ext cx="6934200" cy="9280525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2050" name="Rectangle 2"/>
          <p:cNvSpPr>
            <a:spLocks noGrp="1" noChangeArrowheads="1"/>
          </p:cNvSpPr>
          <p:nvPr>
            <p:ph type="hdr"/>
          </p:nvPr>
        </p:nvSpPr>
        <p:spPr bwMode="auto">
          <a:xfrm>
            <a:off x="5640388" y="96838"/>
            <a:ext cx="639762" cy="2111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doc.: IEEE 802.11-18/810r1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654050" y="96838"/>
            <a:ext cx="825500" cy="2111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November 2018</a:t>
            </a:r>
          </a:p>
        </p:txBody>
      </p:sp>
      <p:sp>
        <p:nvSpPr>
          <p:cNvPr id="2052" name="Rectangle 4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1152525" y="701675"/>
            <a:ext cx="4627563" cy="3467100"/>
          </a:xfrm>
          <a:prstGeom prst="rect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053" name="Rectangle 5"/>
          <p:cNvSpPr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4763" cy="417512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3600" tIns="46080" rIns="93600" bIns="4608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/>
          </p:nvPr>
        </p:nvSpPr>
        <p:spPr bwMode="auto">
          <a:xfrm>
            <a:off x="5357813" y="8985250"/>
            <a:ext cx="92233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457200" algn="l"/>
                <a:tab pos="1371600" algn="l"/>
                <a:tab pos="2286000" algn="l"/>
                <a:tab pos="3200400" algn="l"/>
                <a:tab pos="4114800" algn="l"/>
                <a:tab pos="5029200" algn="l"/>
                <a:tab pos="5943600" algn="l"/>
                <a:tab pos="6858000" algn="l"/>
                <a:tab pos="7772400" algn="l"/>
                <a:tab pos="8686800" algn="l"/>
                <a:tab pos="9601200" algn="l"/>
                <a:tab pos="105156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Jerome Henry, Cisco</a:t>
            </a:r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/>
          </p:nvPr>
        </p:nvSpPr>
        <p:spPr bwMode="auto">
          <a:xfrm>
            <a:off x="3222625" y="8985250"/>
            <a:ext cx="511175" cy="36353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Page </a:t>
            </a:r>
            <a:fld id="{47A7FEEB-9CD2-43FE-843C-C5350BEACB45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2056" name="Rectangle 8"/>
          <p:cNvSpPr>
            <a:spLocks noChangeArrowheads="1"/>
          </p:cNvSpPr>
          <p:nvPr/>
        </p:nvSpPr>
        <p:spPr bwMode="auto">
          <a:xfrm>
            <a:off x="722313" y="8985250"/>
            <a:ext cx="714375" cy="18256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1200">
                <a:solidFill>
                  <a:srgbClr val="000000"/>
                </a:solidFill>
              </a:rPr>
              <a:t>Submission</a:t>
            </a:r>
          </a:p>
        </p:txBody>
      </p:sp>
      <p:sp>
        <p:nvSpPr>
          <p:cNvPr id="2057" name="Line 9"/>
          <p:cNvSpPr>
            <a:spLocks noChangeShapeType="1"/>
          </p:cNvSpPr>
          <p:nvPr/>
        </p:nvSpPr>
        <p:spPr bwMode="auto">
          <a:xfrm>
            <a:off x="723900" y="8983663"/>
            <a:ext cx="5486400" cy="1587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058" name="Line 10"/>
          <p:cNvSpPr>
            <a:spLocks noChangeShapeType="1"/>
          </p:cNvSpPr>
          <p:nvPr/>
        </p:nvSpPr>
        <p:spPr bwMode="auto">
          <a:xfrm>
            <a:off x="647700" y="296863"/>
            <a:ext cx="5638800" cy="1587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065918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dirty="0"/>
              <a:t>doc.: IEEE 802.11-18/810r1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 dirty="0"/>
              <a:t>November 2018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en-US" dirty="0"/>
              <a:t>Jerome Henry, Cisco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 dirty="0"/>
              <a:t>Page </a:t>
            </a:r>
            <a:fld id="{465D53FD-DB5F-4815-BF01-6488A8FBD189}" type="slidenum">
              <a:rPr lang="en-US"/>
              <a:pPr/>
              <a:t>1</a:t>
            </a:fld>
            <a:endParaRPr lang="en-US" dirty="0"/>
          </a:p>
        </p:txBody>
      </p:sp>
      <p:sp>
        <p:nvSpPr>
          <p:cNvPr id="12289" name="Text Box 1"/>
          <p:cNvSpPr txBox="1">
            <a:spLocks noChangeArrowheads="1"/>
          </p:cNvSpPr>
          <p:nvPr/>
        </p:nvSpPr>
        <p:spPr bwMode="auto">
          <a:xfrm>
            <a:off x="1154113" y="701675"/>
            <a:ext cx="4625975" cy="34686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12290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6350" cy="4270375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70441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dirty="0"/>
              <a:t>doc.: IEEE 802.11-18/810r1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 dirty="0"/>
              <a:t>November 2018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en-US" dirty="0"/>
              <a:t>Jerome Henry, Cisco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 dirty="0"/>
              <a:t>Page </a:t>
            </a:r>
            <a:fld id="{CA5AFF69-4AEE-4693-9CD6-98E2EBC076E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13313" name="Text Box 1"/>
          <p:cNvSpPr txBox="1">
            <a:spLocks noChangeArrowheads="1"/>
          </p:cNvSpPr>
          <p:nvPr/>
        </p:nvSpPr>
        <p:spPr bwMode="auto">
          <a:xfrm>
            <a:off x="1154113" y="701675"/>
            <a:ext cx="4625975" cy="34686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13314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6350" cy="4270375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07659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18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Jerome Henry, Cisc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DE40C9FC-4879-4F20-9ECA-A574A90476B7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797051"/>
            <a:ext cx="8345488" cy="42242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455085"/>
            <a:ext cx="8345488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3611340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4" imgW="476" imgH="357" progId="">
                  <p:embed/>
                </p:oleObj>
              </mc:Choice>
              <mc:Fallback>
                <p:oleObj name="think-cell Slide" r:id="rId4" imgW="476" imgH="357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455085"/>
            <a:ext cx="8345488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6635230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440F5867-744E-4AA6-B0ED-4C44D2DFBB7B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ftr" idx="14"/>
          </p:nvPr>
        </p:nvSpPr>
        <p:spPr bwMode="auto">
          <a:xfrm>
            <a:off x="5357818" y="6475413"/>
            <a:ext cx="3184520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/>
              <a:t>Jerome Henry, Cisco</a:t>
            </a:r>
          </a:p>
        </p:txBody>
      </p:sp>
      <p:sp>
        <p:nvSpPr>
          <p:cNvPr id="12" name="Rectangle 3"/>
          <p:cNvSpPr>
            <a:spLocks noGrp="1" noChangeArrowheads="1"/>
          </p:cNvSpPr>
          <p:nvPr>
            <p:ph type="dt" idx="15"/>
          </p:nvPr>
        </p:nvSpPr>
        <p:spPr bwMode="auto">
          <a:xfrm>
            <a:off x="696912" y="333375"/>
            <a:ext cx="1874823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November 2018</a:t>
            </a:r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18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Jerome Henry, Cisc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3ABCC52B-A3F7-440B-BBF2-55191E6E7773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08413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1981200"/>
            <a:ext cx="3810000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18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Jerome Henry, Cisco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1CD163DD-D5E7-41DA-95F2-71530C24F8C3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18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idx="11"/>
          </p:nvPr>
        </p:nvSpPr>
        <p:spPr>
          <a:xfrm>
            <a:off x="5643570" y="6475413"/>
            <a:ext cx="2898768" cy="18097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Jerome Henry, Cisco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69B99EC4-A1FB-4C79-B9A5-C1FFD5A90380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18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Jerome Henry, Cisco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06B781AF-4CCF-49B0-A572-DE54FBE5D942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18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Jerome Henry, Cisc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F5D8E26B-7BCF-4D25-9C89-0168A6618F18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18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Jerome Henry, Cisc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6B5E41C2-EF12-4EF2-8280-F2B4208277C2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85800"/>
            <a:ext cx="1941513" cy="54086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5676900" cy="5408613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18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Jerome Henry, Cisc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9B0D65C8-A0CA-4DDA-83BB-897866218593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85800"/>
            <a:ext cx="7770813" cy="1065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the title text format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0813" cy="4113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the outline text format</a:t>
            </a:r>
          </a:p>
          <a:p>
            <a:pPr lvl="1"/>
            <a:r>
              <a:rPr lang="en-GB"/>
              <a:t>Second Outline Level</a:t>
            </a:r>
          </a:p>
          <a:p>
            <a:pPr lvl="2"/>
            <a:r>
              <a:rPr lang="en-GB"/>
              <a:t>Third Outline Level</a:t>
            </a:r>
          </a:p>
          <a:p>
            <a:pPr lvl="3"/>
            <a:r>
              <a:rPr lang="en-GB"/>
              <a:t>Fourth Outline Level</a:t>
            </a:r>
          </a:p>
          <a:p>
            <a:pPr lvl="4"/>
            <a:r>
              <a:rPr lang="en-GB"/>
              <a:t>Fifth Outline Level</a:t>
            </a:r>
          </a:p>
          <a:p>
            <a:pPr lvl="4"/>
            <a:r>
              <a:rPr lang="en-GB"/>
              <a:t>Sixth Outline Level</a:t>
            </a:r>
          </a:p>
          <a:p>
            <a:pPr lvl="4"/>
            <a:r>
              <a:rPr lang="en-GB"/>
              <a:t>Seventh Outline Level</a:t>
            </a:r>
          </a:p>
          <a:p>
            <a:pPr lvl="4"/>
            <a:r>
              <a:rPr lang="en-GB"/>
              <a:t>Eighth Outline Level</a:t>
            </a:r>
          </a:p>
          <a:p>
            <a:pPr lvl="4"/>
            <a:r>
              <a:rPr lang="en-GB"/>
              <a:t>Ninth Outline Level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696912" y="333375"/>
            <a:ext cx="1874823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November 2018</a:t>
            </a:r>
            <a:endParaRPr lang="en-GB" dirty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ftr"/>
          </p:nvPr>
        </p:nvSpPr>
        <p:spPr bwMode="auto">
          <a:xfrm>
            <a:off x="5357818" y="6475413"/>
            <a:ext cx="3184520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/>
              <a:t>Jerome Henry, Cisco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4344988" y="6475413"/>
            <a:ext cx="528637" cy="3635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/>
              <a:t>Slide </a:t>
            </a:r>
            <a:fld id="{D09C756B-EB39-4236-ADBB-73052B179AE4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1030" name="Line 6"/>
          <p:cNvSpPr>
            <a:spLocks noChangeShapeType="1"/>
          </p:cNvSpPr>
          <p:nvPr/>
        </p:nvSpPr>
        <p:spPr bwMode="auto">
          <a:xfrm>
            <a:off x="685800" y="609600"/>
            <a:ext cx="77724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684213" y="6475413"/>
            <a:ext cx="714375" cy="182562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1200">
                <a:solidFill>
                  <a:srgbClr val="000000"/>
                </a:solidFill>
              </a:rPr>
              <a:t>Submission</a:t>
            </a:r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685800" y="6477000"/>
            <a:ext cx="78486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10" name="Date Placeholder 3"/>
          <p:cNvSpPr txBox="1">
            <a:spLocks/>
          </p:cNvSpPr>
          <p:nvPr userDrawn="1"/>
        </p:nvSpPr>
        <p:spPr bwMode="auto">
          <a:xfrm>
            <a:off x="5000628" y="357166"/>
            <a:ext cx="3500462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doc.: IEEE 802.11-18/1940r0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8" r:id="rId8"/>
    <p:sldLayoutId id="2147483659" r:id="rId9"/>
    <p:sldLayoutId id="2147483660" r:id="rId10"/>
    <p:sldLayoutId id="2147483661" r:id="rId11"/>
  </p:sldLayoutIdLst>
  <p:hf hdr="0"/>
  <p:txStyles>
    <p:titleStyle>
      <a:lvl1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+mj-lt"/>
          <a:ea typeface="+mj-ea"/>
          <a:cs typeface="+mj-cs"/>
        </a:defRPr>
      </a:lvl1pPr>
      <a:lvl2pPr marL="742950" indent="-28575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2pPr>
      <a:lvl3pPr marL="1143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3pPr>
      <a:lvl4pPr marL="1600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4pPr>
      <a:lvl5pPr marL="20574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5pPr>
      <a:lvl6pPr marL="25146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6pPr>
      <a:lvl7pPr marL="29718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7pPr>
      <a:lvl8pPr marL="3429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8pPr>
      <a:lvl9pPr marL="3886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9pPr>
    </p:titleStyle>
    <p:bodyStyle>
      <a:lvl1pPr marL="342900" indent="-342900" algn="l" defTabSz="449263" rtl="0" eaLnBrk="1" fontAlgn="base" hangingPunct="1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400" b="1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2pPr>
      <a:lvl3pPr marL="1143000" indent="-228600" algn="l" defTabSz="449263" rtl="0" eaLnBrk="1" fontAlgn="base" hangingPunct="1">
        <a:spcBef>
          <a:spcPts val="45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>
          <a:solidFill>
            <a:srgbClr val="000000"/>
          </a:solidFill>
          <a:latin typeface="+mn-lt"/>
          <a:ea typeface="+mn-ea"/>
        </a:defRPr>
      </a:lvl3pPr>
      <a:lvl4pPr marL="1600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4pPr>
      <a:lvl5pPr marL="20574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5pPr>
      <a:lvl6pPr marL="25146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6pPr>
      <a:lvl7pPr marL="29718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7pPr>
      <a:lvl8pPr marL="34290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8pPr>
      <a:lvl9pPr marL="3886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Microsoft_Word_97_-_2004_Document.doc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iff"/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8.tif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mailto:iot-onboarding@ietf.org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5.tif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7.tiff"/><Relationship Id="rId4" Type="http://schemas.openxmlformats.org/officeDocument/2006/relationships/image" Target="../media/image6.tif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3"/>
          <p:cNvSpPr>
            <a:spLocks noGrp="1"/>
          </p:cNvSpPr>
          <p:nvPr>
            <p:ph type="dt" idx="15"/>
          </p:nvPr>
        </p:nvSpPr>
        <p:spPr>
          <a:xfrm>
            <a:off x="696912" y="333375"/>
            <a:ext cx="2303451" cy="273050"/>
          </a:xfrm>
        </p:spPr>
        <p:txBody>
          <a:bodyPr/>
          <a:lstStyle/>
          <a:p>
            <a:r>
              <a:rPr lang="en-US" dirty="0"/>
              <a:t>November 2018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5500694" y="6475413"/>
            <a:ext cx="3041644" cy="180975"/>
          </a:xfrm>
        </p:spPr>
        <p:txBody>
          <a:bodyPr/>
          <a:lstStyle/>
          <a:p>
            <a:r>
              <a:rPr lang="en-GB" dirty="0"/>
              <a:t>Jerome Henry, Cisco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93823DB3-BAA4-4F4A-B4B3-ED9ABE70E976}" type="slidenum">
              <a:rPr lang="en-GB"/>
              <a:pPr/>
              <a:t>1</a:t>
            </a:fld>
            <a:endParaRPr lang="en-GB" dirty="0"/>
          </a:p>
        </p:txBody>
      </p:sp>
      <p:sp>
        <p:nvSpPr>
          <p:cNvPr id="3073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5800"/>
            <a:ext cx="7772400" cy="1066800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dirty="0"/>
              <a:t>IoT Onboarding for 802.11</a:t>
            </a:r>
            <a:br>
              <a:rPr lang="en-GB" dirty="0"/>
            </a:br>
            <a:endParaRPr lang="en-GB" dirty="0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0" y="1524000"/>
            <a:ext cx="7772400" cy="396875"/>
          </a:xfrm>
          <a:ln/>
        </p:spPr>
        <p:txBody>
          <a:bodyPr/>
          <a:lstStyle/>
          <a:p>
            <a:pPr algn="ctr">
              <a:spcBef>
                <a:spcPts val="5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2000" dirty="0"/>
              <a:t>Date:</a:t>
            </a:r>
            <a:r>
              <a:rPr lang="en-GB" sz="2000" b="0" dirty="0"/>
              <a:t> 2018-11-11</a:t>
            </a:r>
          </a:p>
        </p:txBody>
      </p:sp>
      <p:graphicFrame>
        <p:nvGraphicFramePr>
          <p:cNvPr id="3075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54401774"/>
              </p:ext>
            </p:extLst>
          </p:nvPr>
        </p:nvGraphicFramePr>
        <p:xfrm>
          <a:off x="511175" y="2997200"/>
          <a:ext cx="7678738" cy="12461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3" name="Document" r:id="rId4" imgW="8255000" imgH="1346200" progId="Word.Document.8">
                  <p:embed/>
                </p:oleObj>
              </mc:Choice>
              <mc:Fallback>
                <p:oleObj name="Document" r:id="rId4" imgW="8255000" imgH="1346200" progId="Word.Document.8">
                  <p:embed/>
                  <p:pic>
                    <p:nvPicPr>
                      <p:cNvPr id="3075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11175" y="2997200"/>
                        <a:ext cx="7678738" cy="12461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blipFill dpi="0" rotWithShape="0">
                              <a:blip/>
                              <a:srcRect/>
                              <a:stretch>
                                <a:fillRect/>
                              </a:stretch>
                            </a:blip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Rectangle 4"/>
          <p:cNvSpPr>
            <a:spLocks noChangeArrowheads="1"/>
          </p:cNvSpPr>
          <p:nvPr/>
        </p:nvSpPr>
        <p:spPr bwMode="auto">
          <a:xfrm>
            <a:off x="533400" y="1939925"/>
            <a:ext cx="1447800" cy="381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2160" tIns="46080" rIns="92160" bIns="46080"/>
          <a:lstStyle/>
          <a:p>
            <a:pPr>
              <a:spcBef>
                <a:spcPts val="500"/>
              </a:spcBef>
              <a:tabLst>
                <a:tab pos="342900" algn="l"/>
                <a:tab pos="1257300" algn="l"/>
                <a:tab pos="2171700" algn="l"/>
                <a:tab pos="3086100" algn="l"/>
                <a:tab pos="4000500" algn="l"/>
                <a:tab pos="4914900" algn="l"/>
                <a:tab pos="5829300" algn="l"/>
                <a:tab pos="6743700" algn="l"/>
                <a:tab pos="7658100" algn="l"/>
                <a:tab pos="8572500" algn="l"/>
                <a:tab pos="9486900" algn="l"/>
                <a:tab pos="10401300" algn="l"/>
              </a:tabLst>
            </a:pPr>
            <a:r>
              <a:rPr lang="en-GB" sz="2000" dirty="0">
                <a:solidFill>
                  <a:srgbClr val="000000"/>
                </a:solidFill>
              </a:rPr>
              <a:t>Authors: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4DA699-105A-C645-8521-2675A3FB4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ased IoThing side Requiremen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696FA3-ED55-9347-8FD7-A8276F24DF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103" y="3041127"/>
            <a:ext cx="299348" cy="29934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263619B-EE2D-C545-8DBA-941DF714E271}"/>
              </a:ext>
            </a:extLst>
          </p:cNvPr>
          <p:cNvSpPr txBox="1"/>
          <p:nvPr/>
        </p:nvSpPr>
        <p:spPr>
          <a:xfrm>
            <a:off x="2366682" y="2219883"/>
            <a:ext cx="56137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SSID1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798869F-4674-624A-ABB5-B6378EA9AD6D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2072328" y="2255854"/>
            <a:ext cx="209575" cy="209364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31" name="Freeform 14">
              <a:extLst>
                <a:ext uri="{FF2B5EF4-FFF2-40B4-BE49-F238E27FC236}">
                  <a16:creationId xmlns:a16="http://schemas.microsoft.com/office/drawing/2014/main" id="{DEF02CED-6D94-194F-B7B0-057C453014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57BC0319-6B83-534E-B5AB-AAE5BB1943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436049A-08C8-5841-9A84-F4F5DFAAAFDE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2968799" y="3053713"/>
            <a:ext cx="209575" cy="209364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C2C11481-94BF-F444-ABEA-8459127077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4B9C7CE7-730D-0F46-9FC6-D6988C586F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A40CC622-71B9-E845-B9C3-D9827DF59D9B}"/>
              </a:ext>
            </a:extLst>
          </p:cNvPr>
          <p:cNvSpPr txBox="1"/>
          <p:nvPr/>
        </p:nvSpPr>
        <p:spPr>
          <a:xfrm>
            <a:off x="2770093" y="2668119"/>
            <a:ext cx="56137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SSID2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04FF7A5-11BD-6A4D-A8FF-76CA0ED4E2B5}"/>
              </a:ext>
            </a:extLst>
          </p:cNvPr>
          <p:cNvSpPr txBox="1"/>
          <p:nvPr/>
        </p:nvSpPr>
        <p:spPr>
          <a:xfrm>
            <a:off x="106829" y="3553383"/>
            <a:ext cx="330571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Level 2: IoT may need to determine the “correct” SSID</a:t>
            </a:r>
          </a:p>
        </p:txBody>
      </p:sp>
      <p:sp>
        <p:nvSpPr>
          <p:cNvPr id="39" name="Rectangle 2">
            <a:extLst>
              <a:ext uri="{FF2B5EF4-FFF2-40B4-BE49-F238E27FC236}">
                <a16:creationId xmlns:a16="http://schemas.microsoft.com/office/drawing/2014/main" id="{3FE1CDBF-8C84-994E-9F98-67DCAED9EED0}"/>
              </a:ext>
            </a:extLst>
          </p:cNvPr>
          <p:cNvSpPr txBox="1">
            <a:spLocks noChangeArrowheads="1"/>
          </p:cNvSpPr>
          <p:nvPr/>
        </p:nvSpPr>
        <p:spPr>
          <a:xfrm>
            <a:off x="3797300" y="1308100"/>
            <a:ext cx="4660900" cy="47879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/>
              <a:t>Requesting IoThing may position an “is it you” question in probe/association request frames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IoThing needs to add an identifier:</a:t>
            </a:r>
          </a:p>
          <a:p>
            <a:pPr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MAC address / serial</a:t>
            </a:r>
          </a:p>
          <a:p>
            <a:pPr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Vendor identifier</a:t>
            </a:r>
          </a:p>
          <a:p>
            <a:pPr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Public key (BRSKI, PKI)</a:t>
            </a:r>
            <a:endParaRPr lang="en-US" dirty="0">
              <a:solidFill>
                <a:schemeClr val="tx1"/>
              </a:solidFill>
            </a:endParaRP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25F60A93-E95D-EF47-A866-CBA8E3A9B273}"/>
              </a:ext>
            </a:extLst>
          </p:cNvPr>
          <p:cNvCxnSpPr/>
          <p:nvPr/>
        </p:nvCxnSpPr>
        <p:spPr bwMode="auto">
          <a:xfrm flipV="1">
            <a:off x="876300" y="2451100"/>
            <a:ext cx="1104900" cy="63500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FE3459A-ADA2-E94F-8EE2-BBF80F585257}"/>
              </a:ext>
            </a:extLst>
          </p:cNvPr>
          <p:cNvCxnSpPr/>
          <p:nvPr/>
        </p:nvCxnSpPr>
        <p:spPr bwMode="auto">
          <a:xfrm flipV="1">
            <a:off x="914400" y="3162300"/>
            <a:ext cx="1905000" cy="8890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735A3115-3B2D-7048-AA1A-04AE51BB1C3A}"/>
              </a:ext>
            </a:extLst>
          </p:cNvPr>
          <p:cNvSpPr txBox="1"/>
          <p:nvPr/>
        </p:nvSpPr>
        <p:spPr>
          <a:xfrm rot="20790315">
            <a:off x="1033929" y="2829483"/>
            <a:ext cx="130356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Probe + “is it you?”</a:t>
            </a:r>
          </a:p>
        </p:txBody>
      </p:sp>
      <p:sp>
        <p:nvSpPr>
          <p:cNvPr id="40" name="Footer Placeholder 4">
            <a:extLst>
              <a:ext uri="{FF2B5EF4-FFF2-40B4-BE49-F238E27FC236}">
                <a16:creationId xmlns:a16="http://schemas.microsoft.com/office/drawing/2014/main" id="{BBC7A7D7-0EB0-C448-9921-CA3385F2DF6A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41" name="Slide Number Placeholder 3">
            <a:extLst>
              <a:ext uri="{FF2B5EF4-FFF2-40B4-BE49-F238E27FC236}">
                <a16:creationId xmlns:a16="http://schemas.microsoft.com/office/drawing/2014/main" id="{A693D5D9-90B1-9846-84F2-0FD9D419F848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10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117892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4DA699-105A-C645-8521-2675A3FB4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oThing Side Identifier Challeng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696FA3-ED55-9347-8FD7-A8276F24DF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103" y="3041127"/>
            <a:ext cx="299348" cy="29934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263619B-EE2D-C545-8DBA-941DF714E271}"/>
              </a:ext>
            </a:extLst>
          </p:cNvPr>
          <p:cNvSpPr txBox="1"/>
          <p:nvPr/>
        </p:nvSpPr>
        <p:spPr>
          <a:xfrm>
            <a:off x="2366682" y="2219883"/>
            <a:ext cx="56137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SSID1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798869F-4674-624A-ABB5-B6378EA9AD6D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2072328" y="2255854"/>
            <a:ext cx="209575" cy="209364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31" name="Freeform 14">
              <a:extLst>
                <a:ext uri="{FF2B5EF4-FFF2-40B4-BE49-F238E27FC236}">
                  <a16:creationId xmlns:a16="http://schemas.microsoft.com/office/drawing/2014/main" id="{DEF02CED-6D94-194F-B7B0-057C453014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57BC0319-6B83-534E-B5AB-AAE5BB1943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436049A-08C8-5841-9A84-F4F5DFAAAFDE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2968799" y="3053713"/>
            <a:ext cx="209575" cy="209364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C2C11481-94BF-F444-ABEA-8459127077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4B9C7CE7-730D-0F46-9FC6-D6988C586F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A40CC622-71B9-E845-B9C3-D9827DF59D9B}"/>
              </a:ext>
            </a:extLst>
          </p:cNvPr>
          <p:cNvSpPr txBox="1"/>
          <p:nvPr/>
        </p:nvSpPr>
        <p:spPr>
          <a:xfrm>
            <a:off x="2770093" y="2668119"/>
            <a:ext cx="56137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SSID2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04FF7A5-11BD-6A4D-A8FF-76CA0ED4E2B5}"/>
              </a:ext>
            </a:extLst>
          </p:cNvPr>
          <p:cNvSpPr txBox="1"/>
          <p:nvPr/>
        </p:nvSpPr>
        <p:spPr>
          <a:xfrm>
            <a:off x="106829" y="3553383"/>
            <a:ext cx="330571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Level 2: IoT may need to determine the “correct” SSID</a:t>
            </a:r>
          </a:p>
        </p:txBody>
      </p:sp>
      <p:sp>
        <p:nvSpPr>
          <p:cNvPr id="39" name="Rectangle 2">
            <a:extLst>
              <a:ext uri="{FF2B5EF4-FFF2-40B4-BE49-F238E27FC236}">
                <a16:creationId xmlns:a16="http://schemas.microsoft.com/office/drawing/2014/main" id="{3FE1CDBF-8C84-994E-9F98-67DCAED9EED0}"/>
              </a:ext>
            </a:extLst>
          </p:cNvPr>
          <p:cNvSpPr txBox="1">
            <a:spLocks noChangeArrowheads="1"/>
          </p:cNvSpPr>
          <p:nvPr/>
        </p:nvSpPr>
        <p:spPr>
          <a:xfrm>
            <a:off x="3797300" y="1308100"/>
            <a:ext cx="4660900" cy="47879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/>
              <a:t>Some verticals will only need “what is that thing” value (object category)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Other verticals will need individual thing identification (thou </a:t>
            </a:r>
            <a:r>
              <a:rPr lang="en-US" kern="0" dirty="0" err="1">
                <a:solidFill>
                  <a:schemeClr val="tx1"/>
                </a:solidFill>
              </a:rPr>
              <a:t>shalst</a:t>
            </a:r>
            <a:r>
              <a:rPr lang="en-US" kern="0" dirty="0">
                <a:solidFill>
                  <a:schemeClr val="tx1"/>
                </a:solidFill>
              </a:rPr>
              <a:t> not onboard your neighbor lightbulb even if they use the same brand as yours)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Other verticals will mandate anti-spoofing provisions</a:t>
            </a:r>
            <a:endParaRPr lang="en-US" dirty="0">
              <a:solidFill>
                <a:schemeClr val="tx1"/>
              </a:solidFill>
            </a:endParaRP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25F60A93-E95D-EF47-A866-CBA8E3A9B273}"/>
              </a:ext>
            </a:extLst>
          </p:cNvPr>
          <p:cNvCxnSpPr/>
          <p:nvPr/>
        </p:nvCxnSpPr>
        <p:spPr bwMode="auto">
          <a:xfrm flipV="1">
            <a:off x="876300" y="2451100"/>
            <a:ext cx="1104900" cy="63500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FE3459A-ADA2-E94F-8EE2-BBF80F585257}"/>
              </a:ext>
            </a:extLst>
          </p:cNvPr>
          <p:cNvCxnSpPr/>
          <p:nvPr/>
        </p:nvCxnSpPr>
        <p:spPr bwMode="auto">
          <a:xfrm flipV="1">
            <a:off x="914400" y="3162300"/>
            <a:ext cx="1905000" cy="8890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735A3115-3B2D-7048-AA1A-04AE51BB1C3A}"/>
              </a:ext>
            </a:extLst>
          </p:cNvPr>
          <p:cNvSpPr txBox="1"/>
          <p:nvPr/>
        </p:nvSpPr>
        <p:spPr>
          <a:xfrm rot="20790315">
            <a:off x="1033929" y="2829483"/>
            <a:ext cx="130356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Probe + “is it you?”</a:t>
            </a:r>
          </a:p>
        </p:txBody>
      </p:sp>
      <p:sp>
        <p:nvSpPr>
          <p:cNvPr id="17" name="Rectangle 2">
            <a:extLst>
              <a:ext uri="{FF2B5EF4-FFF2-40B4-BE49-F238E27FC236}">
                <a16:creationId xmlns:a16="http://schemas.microsoft.com/office/drawing/2014/main" id="{4578BF61-BA6A-9A47-9A59-EE1EC4C50426}"/>
              </a:ext>
            </a:extLst>
          </p:cNvPr>
          <p:cNvSpPr txBox="1">
            <a:spLocks noChangeArrowheads="1"/>
          </p:cNvSpPr>
          <p:nvPr/>
        </p:nvSpPr>
        <p:spPr>
          <a:xfrm>
            <a:off x="444500" y="5397500"/>
            <a:ext cx="8229600" cy="15621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sz="2000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sz="2000" kern="0" dirty="0"/>
              <a:t>These different requirements are great area of potential cooperation with the IETF BRSKI* effort</a:t>
            </a:r>
            <a:endParaRPr lang="en-GB" sz="2000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sz="2000" kern="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A59E2EF-8AA0-C241-8324-9A59563FEC8E}"/>
              </a:ext>
            </a:extLst>
          </p:cNvPr>
          <p:cNvSpPr txBox="1"/>
          <p:nvPr/>
        </p:nvSpPr>
        <p:spPr>
          <a:xfrm>
            <a:off x="4254500" y="6261100"/>
            <a:ext cx="244169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1" dirty="0">
                <a:solidFill>
                  <a:schemeClr val="tx1"/>
                </a:solidFill>
              </a:rPr>
              <a:t>*Bootstrapping Remote Secure Key Infrastructures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8B7F65C-BFD9-C64D-8373-769D42C3672F}"/>
              </a:ext>
            </a:extLst>
          </p:cNvPr>
          <p:cNvSpPr txBox="1"/>
          <p:nvPr/>
        </p:nvSpPr>
        <p:spPr>
          <a:xfrm>
            <a:off x="112806" y="4028513"/>
            <a:ext cx="392286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Level 2: AP only accepts the right client, with the right credentials</a:t>
            </a:r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C1B64919-6D5B-E64D-B91E-E23F44A3F1B7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1EFA53C8-5D93-734E-85EC-47886059F45E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11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478594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4DA699-105A-C645-8521-2675A3FB4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rastructure Side knowledge proof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696FA3-ED55-9347-8FD7-A8276F24DF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103" y="3041127"/>
            <a:ext cx="299348" cy="29934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263619B-EE2D-C545-8DBA-941DF714E271}"/>
              </a:ext>
            </a:extLst>
          </p:cNvPr>
          <p:cNvSpPr txBox="1"/>
          <p:nvPr/>
        </p:nvSpPr>
        <p:spPr>
          <a:xfrm>
            <a:off x="2366682" y="2219883"/>
            <a:ext cx="56137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SSID1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798869F-4674-624A-ABB5-B6378EA9AD6D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2072328" y="2255854"/>
            <a:ext cx="209575" cy="209364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31" name="Freeform 14">
              <a:extLst>
                <a:ext uri="{FF2B5EF4-FFF2-40B4-BE49-F238E27FC236}">
                  <a16:creationId xmlns:a16="http://schemas.microsoft.com/office/drawing/2014/main" id="{DEF02CED-6D94-194F-B7B0-057C453014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57BC0319-6B83-534E-B5AB-AAE5BB1943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436049A-08C8-5841-9A84-F4F5DFAAAFDE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2968799" y="3053713"/>
            <a:ext cx="209575" cy="209364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C2C11481-94BF-F444-ABEA-8459127077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4B9C7CE7-730D-0F46-9FC6-D6988C586F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A40CC622-71B9-E845-B9C3-D9827DF59D9B}"/>
              </a:ext>
            </a:extLst>
          </p:cNvPr>
          <p:cNvSpPr txBox="1"/>
          <p:nvPr/>
        </p:nvSpPr>
        <p:spPr>
          <a:xfrm>
            <a:off x="2770093" y="2668119"/>
            <a:ext cx="56137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SSID2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04FF7A5-11BD-6A4D-A8FF-76CA0ED4E2B5}"/>
              </a:ext>
            </a:extLst>
          </p:cNvPr>
          <p:cNvSpPr txBox="1"/>
          <p:nvPr/>
        </p:nvSpPr>
        <p:spPr>
          <a:xfrm>
            <a:off x="106829" y="3553383"/>
            <a:ext cx="330571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Level 2: IoT may need to determine the “correct” SSID</a:t>
            </a:r>
          </a:p>
        </p:txBody>
      </p:sp>
      <p:sp>
        <p:nvSpPr>
          <p:cNvPr id="39" name="Rectangle 2">
            <a:extLst>
              <a:ext uri="{FF2B5EF4-FFF2-40B4-BE49-F238E27FC236}">
                <a16:creationId xmlns:a16="http://schemas.microsoft.com/office/drawing/2014/main" id="{3FE1CDBF-8C84-994E-9F98-67DCAED9EED0}"/>
              </a:ext>
            </a:extLst>
          </p:cNvPr>
          <p:cNvSpPr txBox="1">
            <a:spLocks noChangeArrowheads="1"/>
          </p:cNvSpPr>
          <p:nvPr/>
        </p:nvSpPr>
        <p:spPr>
          <a:xfrm>
            <a:off x="3797300" y="1308100"/>
            <a:ext cx="4660900" cy="47879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/>
              <a:t>The AP can return a sign, or proof of knowledge, confirming that the IoThing communicates with the ‘right’ SSID:</a:t>
            </a:r>
          </a:p>
          <a:p>
            <a:pPr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Complementary value (e.g. serial)</a:t>
            </a:r>
          </a:p>
          <a:p>
            <a:pPr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Bloom filter</a:t>
            </a:r>
          </a:p>
          <a:p>
            <a:pPr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BRSKI Voucher, PKI</a:t>
            </a:r>
            <a:endParaRPr lang="en-US" dirty="0">
              <a:solidFill>
                <a:schemeClr val="tx1"/>
              </a:solidFill>
            </a:endParaRP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FE3459A-ADA2-E94F-8EE2-BBF80F585257}"/>
              </a:ext>
            </a:extLst>
          </p:cNvPr>
          <p:cNvCxnSpPr/>
          <p:nvPr/>
        </p:nvCxnSpPr>
        <p:spPr bwMode="auto">
          <a:xfrm flipV="1">
            <a:off x="914400" y="3162300"/>
            <a:ext cx="1905000" cy="8890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735A3115-3B2D-7048-AA1A-04AE51BB1C3A}"/>
              </a:ext>
            </a:extLst>
          </p:cNvPr>
          <p:cNvSpPr txBox="1"/>
          <p:nvPr/>
        </p:nvSpPr>
        <p:spPr>
          <a:xfrm rot="21355285">
            <a:off x="1089720" y="2956484"/>
            <a:ext cx="14205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Proof that I know you</a:t>
            </a:r>
          </a:p>
        </p:txBody>
      </p:sp>
      <p:sp>
        <p:nvSpPr>
          <p:cNvPr id="17" name="Rectangle 2">
            <a:extLst>
              <a:ext uri="{FF2B5EF4-FFF2-40B4-BE49-F238E27FC236}">
                <a16:creationId xmlns:a16="http://schemas.microsoft.com/office/drawing/2014/main" id="{4578BF61-BA6A-9A47-9A59-EE1EC4C50426}"/>
              </a:ext>
            </a:extLst>
          </p:cNvPr>
          <p:cNvSpPr txBox="1">
            <a:spLocks noChangeArrowheads="1"/>
          </p:cNvSpPr>
          <p:nvPr/>
        </p:nvSpPr>
        <p:spPr>
          <a:xfrm>
            <a:off x="444500" y="5397500"/>
            <a:ext cx="8229600" cy="15621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sz="2000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sz="2000" kern="0" dirty="0"/>
              <a:t>Complementary value, bloom filter are for IoThing level 2 needs,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sz="2000" kern="0" dirty="0"/>
              <a:t>PKI, BRSKI can fulfill infrastructure level 2 needs</a:t>
            </a:r>
            <a:endParaRPr lang="en-GB" sz="2000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sz="2000" kern="0" dirty="0"/>
          </a:p>
        </p:txBody>
      </p:sp>
      <p:sp>
        <p:nvSpPr>
          <p:cNvPr id="2" name="&quot;No&quot; Symbol 1">
            <a:extLst>
              <a:ext uri="{FF2B5EF4-FFF2-40B4-BE49-F238E27FC236}">
                <a16:creationId xmlns:a16="http://schemas.microsoft.com/office/drawing/2014/main" id="{9062143F-39C6-4C4F-B702-8A1DCB2C92E0}"/>
              </a:ext>
            </a:extLst>
          </p:cNvPr>
          <p:cNvSpPr/>
          <p:nvPr/>
        </p:nvSpPr>
        <p:spPr bwMode="auto">
          <a:xfrm>
            <a:off x="1714500" y="2387600"/>
            <a:ext cx="304800" cy="266700"/>
          </a:xfrm>
          <a:prstGeom prst="noSmoking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F5C9D8B-92D6-0B4A-80E1-4040090F79F7}"/>
              </a:ext>
            </a:extLst>
          </p:cNvPr>
          <p:cNvSpPr txBox="1"/>
          <p:nvPr/>
        </p:nvSpPr>
        <p:spPr>
          <a:xfrm rot="20790315">
            <a:off x="1362297" y="2156384"/>
            <a:ext cx="6976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No proof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D7C2FED-66F2-BA4D-BCE6-884829744F70}"/>
              </a:ext>
            </a:extLst>
          </p:cNvPr>
          <p:cNvSpPr txBox="1"/>
          <p:nvPr/>
        </p:nvSpPr>
        <p:spPr>
          <a:xfrm>
            <a:off x="112806" y="4028513"/>
            <a:ext cx="392286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Level 2: AP only accepts the right client, with the right credentials</a:t>
            </a: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78072612-E4B0-7546-87CB-46DD2C73BDD5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FBA83CE8-823F-6840-9F9F-C5175D87E2AF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12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19057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4DA699-105A-C645-8521-2675A3FB4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rastructure Side knowledge proof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696FA3-ED55-9347-8FD7-A8276F24DF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103" y="3041127"/>
            <a:ext cx="299348" cy="299348"/>
          </a:xfrm>
          <a:prstGeom prst="rect">
            <a:avLst/>
          </a:prstGeom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id="{3436049A-08C8-5841-9A84-F4F5DFAAAFDE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2968799" y="3053713"/>
            <a:ext cx="209575" cy="209364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C2C11481-94BF-F444-ABEA-8459127077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4B9C7CE7-730D-0F46-9FC6-D6988C586F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A40CC622-71B9-E845-B9C3-D9827DF59D9B}"/>
              </a:ext>
            </a:extLst>
          </p:cNvPr>
          <p:cNvSpPr txBox="1"/>
          <p:nvPr/>
        </p:nvSpPr>
        <p:spPr>
          <a:xfrm>
            <a:off x="2770093" y="2668119"/>
            <a:ext cx="56137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SSID2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04FF7A5-11BD-6A4D-A8FF-76CA0ED4E2B5}"/>
              </a:ext>
            </a:extLst>
          </p:cNvPr>
          <p:cNvSpPr txBox="1"/>
          <p:nvPr/>
        </p:nvSpPr>
        <p:spPr>
          <a:xfrm>
            <a:off x="233829" y="2042083"/>
            <a:ext cx="330571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Level 2: IoT may need to determine the “correct” SSID</a:t>
            </a:r>
          </a:p>
        </p:txBody>
      </p:sp>
      <p:sp>
        <p:nvSpPr>
          <p:cNvPr id="39" name="Rectangle 2">
            <a:extLst>
              <a:ext uri="{FF2B5EF4-FFF2-40B4-BE49-F238E27FC236}">
                <a16:creationId xmlns:a16="http://schemas.microsoft.com/office/drawing/2014/main" id="{3FE1CDBF-8C84-994E-9F98-67DCAED9EED0}"/>
              </a:ext>
            </a:extLst>
          </p:cNvPr>
          <p:cNvSpPr txBox="1">
            <a:spLocks noChangeArrowheads="1"/>
          </p:cNvSpPr>
          <p:nvPr/>
        </p:nvSpPr>
        <p:spPr>
          <a:xfrm>
            <a:off x="139700" y="4254500"/>
            <a:ext cx="8318500" cy="18415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/>
              <a:t>If the proof is given at the probe phase, the AP may need to go search for an answer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This process may require a comeback phase</a:t>
            </a:r>
            <a:endParaRPr lang="en-US" dirty="0">
              <a:solidFill>
                <a:schemeClr val="tx1"/>
              </a:solidFill>
            </a:endParaRP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FE3459A-ADA2-E94F-8EE2-BBF80F585257}"/>
              </a:ext>
            </a:extLst>
          </p:cNvPr>
          <p:cNvCxnSpPr>
            <a:cxnSpLocks/>
          </p:cNvCxnSpPr>
          <p:nvPr/>
        </p:nvCxnSpPr>
        <p:spPr bwMode="auto">
          <a:xfrm>
            <a:off x="914400" y="3162300"/>
            <a:ext cx="19050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4E6744CB-A742-5541-B731-66CB1DA266C7}"/>
              </a:ext>
            </a:extLst>
          </p:cNvPr>
          <p:cNvCxnSpPr>
            <a:cxnSpLocks/>
          </p:cNvCxnSpPr>
          <p:nvPr/>
        </p:nvCxnSpPr>
        <p:spPr bwMode="auto">
          <a:xfrm>
            <a:off x="927100" y="3530600"/>
            <a:ext cx="19050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8FC75E16-CF0B-2744-9E0F-9F912246F7D4}"/>
              </a:ext>
            </a:extLst>
          </p:cNvPr>
          <p:cNvCxnSpPr>
            <a:cxnSpLocks/>
          </p:cNvCxnSpPr>
          <p:nvPr/>
        </p:nvCxnSpPr>
        <p:spPr bwMode="auto">
          <a:xfrm>
            <a:off x="965200" y="3962400"/>
            <a:ext cx="19050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FBE5A07-DD32-7C43-A93C-D1156B877885}"/>
              </a:ext>
            </a:extLst>
          </p:cNvPr>
          <p:cNvCxnSpPr>
            <a:cxnSpLocks/>
          </p:cNvCxnSpPr>
          <p:nvPr/>
        </p:nvCxnSpPr>
        <p:spPr bwMode="auto">
          <a:xfrm>
            <a:off x="977900" y="4330700"/>
            <a:ext cx="19050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ADBEEF96-EE7F-C546-9762-415F44ADF8FC}"/>
              </a:ext>
            </a:extLst>
          </p:cNvPr>
          <p:cNvSpPr txBox="1"/>
          <p:nvPr/>
        </p:nvSpPr>
        <p:spPr>
          <a:xfrm>
            <a:off x="1503829" y="2931083"/>
            <a:ext cx="7072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Is it you?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0A65D43-DB7E-014C-A6CC-48A4DAC07794}"/>
              </a:ext>
            </a:extLst>
          </p:cNvPr>
          <p:cNvSpPr txBox="1"/>
          <p:nvPr/>
        </p:nvSpPr>
        <p:spPr>
          <a:xfrm>
            <a:off x="1262529" y="3286683"/>
            <a:ext cx="144623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Response + comeback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969B8DD-A79F-BD4E-8A5B-BB37B67C4F59}"/>
              </a:ext>
            </a:extLst>
          </p:cNvPr>
          <p:cNvSpPr txBox="1"/>
          <p:nvPr/>
        </p:nvSpPr>
        <p:spPr>
          <a:xfrm>
            <a:off x="1237129" y="4086783"/>
            <a:ext cx="11801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Response + proof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2326E32-1EE5-EE41-8CF9-6F9B6F3B261C}"/>
              </a:ext>
            </a:extLst>
          </p:cNvPr>
          <p:cNvSpPr txBox="1"/>
          <p:nvPr/>
        </p:nvSpPr>
        <p:spPr>
          <a:xfrm>
            <a:off x="1516529" y="3718483"/>
            <a:ext cx="7072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Is it you?</a:t>
            </a: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77C4ED30-0652-8945-A22C-CFC66E84003B}"/>
              </a:ext>
            </a:extLst>
          </p:cNvPr>
          <p:cNvCxnSpPr>
            <a:cxnSpLocks/>
          </p:cNvCxnSpPr>
          <p:nvPr/>
        </p:nvCxnSpPr>
        <p:spPr bwMode="auto">
          <a:xfrm>
            <a:off x="3784600" y="3683000"/>
            <a:ext cx="19050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A95A5684-EC9D-774A-B405-B1418DB95995}"/>
              </a:ext>
            </a:extLst>
          </p:cNvPr>
          <p:cNvSpPr txBox="1"/>
          <p:nvPr/>
        </p:nvSpPr>
        <p:spPr>
          <a:xfrm>
            <a:off x="3840629" y="3400983"/>
            <a:ext cx="160653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Backend proof collection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0A53A6A8-89B5-1344-A6CC-D70C638DFC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6181" y="3366994"/>
            <a:ext cx="572247" cy="572247"/>
          </a:xfrm>
          <a:prstGeom prst="rect">
            <a:avLst/>
          </a:prstGeom>
        </p:spPr>
      </p:pic>
      <p:sp>
        <p:nvSpPr>
          <p:cNvPr id="41" name="Footer Placeholder 4">
            <a:extLst>
              <a:ext uri="{FF2B5EF4-FFF2-40B4-BE49-F238E27FC236}">
                <a16:creationId xmlns:a16="http://schemas.microsoft.com/office/drawing/2014/main" id="{75B25A48-79FB-9B4A-8E5D-92F4661D0F31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42" name="Slide Number Placeholder 3">
            <a:extLst>
              <a:ext uri="{FF2B5EF4-FFF2-40B4-BE49-F238E27FC236}">
                <a16:creationId xmlns:a16="http://schemas.microsoft.com/office/drawing/2014/main" id="{9C29408D-FC42-844F-9E3F-43B5B2013986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13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0432367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4DA699-105A-C645-8521-2675A3FB4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 2</a:t>
            </a:r>
          </a:p>
        </p:txBody>
      </p:sp>
      <p:sp>
        <p:nvSpPr>
          <p:cNvPr id="29" name="Rectangle 2">
            <a:extLst>
              <a:ext uri="{FF2B5EF4-FFF2-40B4-BE49-F238E27FC236}">
                <a16:creationId xmlns:a16="http://schemas.microsoft.com/office/drawing/2014/main" id="{06864DDD-39E5-104E-B552-A21D4D996B98}"/>
              </a:ext>
            </a:extLst>
          </p:cNvPr>
          <p:cNvSpPr txBox="1">
            <a:spLocks noChangeArrowheads="1"/>
          </p:cNvSpPr>
          <p:nvPr/>
        </p:nvSpPr>
        <p:spPr>
          <a:xfrm>
            <a:off x="685800" y="1308100"/>
            <a:ext cx="7772400" cy="47879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Specific “IoT identifiers” fields could be added to probe/association requests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Identifiers may be associated with exchange type (in following slides)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AP probe/association response could include comeback values, proof IE values</a:t>
            </a:r>
            <a:endParaRPr lang="en-US" dirty="0">
              <a:solidFill>
                <a:schemeClr val="tx1"/>
              </a:solidFill>
            </a:endParaRP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7840403-12FA-BA4B-A3E2-B530DFD92555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4F08998-1E21-EC47-8195-A93E61DBFAA2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14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9919018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4DA699-105A-C645-8521-2675A3FB4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vel 3 for Secure network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696FA3-ED55-9347-8FD7-A8276F24DF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5384" y="3310068"/>
            <a:ext cx="493517" cy="493517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815FD12B-A107-0448-A5D2-7CDD3301E839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5878163" y="3363310"/>
            <a:ext cx="464880" cy="464413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6" name="Freeform 14">
              <a:extLst>
                <a:ext uri="{FF2B5EF4-FFF2-40B4-BE49-F238E27FC236}">
                  <a16:creationId xmlns:a16="http://schemas.microsoft.com/office/drawing/2014/main" id="{3D733462-ADD8-D549-B1EC-3289C387E0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rgbClr val="007F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C4157FEC-B55E-F246-A4C2-D5D12634AF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rgbClr val="007F00"/>
                </a:solidFill>
                <a:latin typeface="Arial" charset="0"/>
                <a:ea typeface="ＭＳ Ｐゴシック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FD1E891B-81BD-144B-A639-32FF5B8886C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5459666" y="3392906"/>
            <a:ext cx="355600" cy="3556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B58F530-BD5C-D140-BFF9-9F9322C00D8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456489" y="3446694"/>
            <a:ext cx="355600" cy="355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78B9556-3295-FB42-B84A-BF3E0F55117E}"/>
              </a:ext>
            </a:extLst>
          </p:cNvPr>
          <p:cNvSpPr txBox="1"/>
          <p:nvPr/>
        </p:nvSpPr>
        <p:spPr>
          <a:xfrm>
            <a:off x="681319" y="3950072"/>
            <a:ext cx="303320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Level 3: prove that you are allowed to onboard m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263619B-EE2D-C545-8DBA-941DF714E271}"/>
              </a:ext>
            </a:extLst>
          </p:cNvPr>
          <p:cNvSpPr txBox="1"/>
          <p:nvPr/>
        </p:nvSpPr>
        <p:spPr>
          <a:xfrm>
            <a:off x="4849907" y="3914214"/>
            <a:ext cx="289694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Level 3: prove that you are allowed to onboard, </a:t>
            </a:r>
            <a:br>
              <a:rPr lang="en-US" sz="1100" dirty="0">
                <a:solidFill>
                  <a:schemeClr val="tx1"/>
                </a:solidFill>
              </a:rPr>
            </a:br>
            <a:r>
              <a:rPr lang="en-US" sz="1100" dirty="0">
                <a:solidFill>
                  <a:schemeClr val="tx1"/>
                </a:solidFill>
              </a:rPr>
              <a:t>and were not tampered with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5A1EF01-4D01-3149-B1A9-77AEB2BFAAE2}"/>
              </a:ext>
            </a:extLst>
          </p:cNvPr>
          <p:cNvSpPr txBox="1"/>
          <p:nvPr/>
        </p:nvSpPr>
        <p:spPr>
          <a:xfrm>
            <a:off x="5199530" y="2721906"/>
            <a:ext cx="49244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AAA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2FADE1F-2B12-7E40-A096-8978C3E4B58B}"/>
              </a:ext>
            </a:extLst>
          </p:cNvPr>
          <p:cNvSpPr txBox="1"/>
          <p:nvPr/>
        </p:nvSpPr>
        <p:spPr>
          <a:xfrm>
            <a:off x="5656729" y="2721906"/>
            <a:ext cx="73449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Registrar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97033E4-5629-654A-9418-FB1E4CD4F4CD}"/>
              </a:ext>
            </a:extLst>
          </p:cNvPr>
          <p:cNvSpPr txBox="1"/>
          <p:nvPr/>
        </p:nvSpPr>
        <p:spPr>
          <a:xfrm>
            <a:off x="6338047" y="2730870"/>
            <a:ext cx="62388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MASA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F6FE360-EA36-0143-998D-4A8245EBFD22}"/>
              </a:ext>
            </a:extLst>
          </p:cNvPr>
          <p:cNvSpPr txBox="1"/>
          <p:nvPr/>
        </p:nvSpPr>
        <p:spPr>
          <a:xfrm>
            <a:off x="7494494" y="2094376"/>
            <a:ext cx="98456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Manufacturer </a:t>
            </a:r>
          </a:p>
        </p:txBody>
      </p:sp>
      <p:sp>
        <p:nvSpPr>
          <p:cNvPr id="21" name="Rectangle 2">
            <a:extLst>
              <a:ext uri="{FF2B5EF4-FFF2-40B4-BE49-F238E27FC236}">
                <a16:creationId xmlns:a16="http://schemas.microsoft.com/office/drawing/2014/main" id="{FC95C3A0-A9FF-274C-9503-7062116C084A}"/>
              </a:ext>
            </a:extLst>
          </p:cNvPr>
          <p:cNvSpPr txBox="1">
            <a:spLocks noChangeArrowheads="1"/>
          </p:cNvSpPr>
          <p:nvPr/>
        </p:nvSpPr>
        <p:spPr>
          <a:xfrm>
            <a:off x="139700" y="1371600"/>
            <a:ext cx="8318500" cy="47244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/>
              <a:t>For higher security networks, and/or critical objects, a third level of security may be needed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US" kern="0" dirty="0">
              <a:solidFill>
                <a:schemeClr val="tx1"/>
              </a:solidFill>
            </a:endParaRP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US" kern="0" dirty="0">
              <a:solidFill>
                <a:schemeClr val="tx1"/>
              </a:solidFill>
            </a:endParaRP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US" kern="0" dirty="0">
              <a:solidFill>
                <a:schemeClr val="tx1"/>
              </a:solidFill>
            </a:endParaRP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US" kern="0" dirty="0">
              <a:solidFill>
                <a:schemeClr val="tx1"/>
              </a:solidFill>
            </a:endParaRP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US" kern="0" dirty="0">
              <a:solidFill>
                <a:schemeClr val="tx1"/>
              </a:solidFill>
            </a:endParaRP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IoThing may need anti-evil twin protection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Network may need anti-tempering (open boxes) measures for new </a:t>
            </a:r>
            <a:r>
              <a:rPr lang="en-US" kern="0" dirty="0" err="1">
                <a:solidFill>
                  <a:schemeClr val="tx1"/>
                </a:solidFill>
              </a:rPr>
              <a:t>IoThings</a:t>
            </a:r>
            <a:endParaRPr lang="en-US" dirty="0">
              <a:solidFill>
                <a:schemeClr val="tx1"/>
              </a:solidFill>
            </a:endParaRP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A204A1CE-0390-D045-8D11-E9BEE84538DA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7402B11A-2640-FD45-8B89-7B8E67E876DE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15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19870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4DA699-105A-C645-8521-2675A3FB4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vel 3 for Secure network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696FA3-ED55-9347-8FD7-A8276F24DF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5384" y="3310068"/>
            <a:ext cx="493517" cy="493517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815FD12B-A107-0448-A5D2-7CDD3301E839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5878163" y="3363310"/>
            <a:ext cx="464880" cy="464413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6" name="Freeform 14">
              <a:extLst>
                <a:ext uri="{FF2B5EF4-FFF2-40B4-BE49-F238E27FC236}">
                  <a16:creationId xmlns:a16="http://schemas.microsoft.com/office/drawing/2014/main" id="{3D733462-ADD8-D549-B1EC-3289C387E0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rgbClr val="007F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C4157FEC-B55E-F246-A4C2-D5D12634AF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rgbClr val="007F00"/>
                </a:solidFill>
                <a:latin typeface="Arial" charset="0"/>
                <a:ea typeface="ＭＳ Ｐゴシック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FD1E891B-81BD-144B-A639-32FF5B8886C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5459666" y="3392906"/>
            <a:ext cx="355600" cy="3556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B58F530-BD5C-D140-BFF9-9F9322C00D8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456489" y="3446694"/>
            <a:ext cx="355600" cy="355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78B9556-3295-FB42-B84A-BF3E0F55117E}"/>
              </a:ext>
            </a:extLst>
          </p:cNvPr>
          <p:cNvSpPr txBox="1"/>
          <p:nvPr/>
        </p:nvSpPr>
        <p:spPr>
          <a:xfrm>
            <a:off x="681319" y="3950072"/>
            <a:ext cx="303320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Level 3: prove that you are allowed to onboard m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263619B-EE2D-C545-8DBA-941DF714E271}"/>
              </a:ext>
            </a:extLst>
          </p:cNvPr>
          <p:cNvSpPr txBox="1"/>
          <p:nvPr/>
        </p:nvSpPr>
        <p:spPr>
          <a:xfrm>
            <a:off x="4849907" y="3914214"/>
            <a:ext cx="289694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Level 3: prove that you are allowed to onboard, </a:t>
            </a:r>
            <a:br>
              <a:rPr lang="en-US" sz="1100" dirty="0">
                <a:solidFill>
                  <a:schemeClr val="tx1"/>
                </a:solidFill>
              </a:rPr>
            </a:br>
            <a:r>
              <a:rPr lang="en-US" sz="1100" dirty="0">
                <a:solidFill>
                  <a:schemeClr val="tx1"/>
                </a:solidFill>
              </a:rPr>
              <a:t>and were not tampered with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E28CBE8-C757-AA47-8EDD-7EAB227D85A9}"/>
              </a:ext>
            </a:extLst>
          </p:cNvPr>
          <p:cNvSpPr txBox="1"/>
          <p:nvPr/>
        </p:nvSpPr>
        <p:spPr>
          <a:xfrm>
            <a:off x="1133289" y="4455830"/>
            <a:ext cx="3248005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IoThing provides a public cert</a:t>
            </a:r>
          </a:p>
          <a:p>
            <a:r>
              <a:rPr lang="en-US" sz="1100" dirty="0">
                <a:solidFill>
                  <a:schemeClr val="tx1"/>
                </a:solidFill>
              </a:rPr>
              <a:t>Cert is verified by MASA/Manufacturer and approved</a:t>
            </a:r>
          </a:p>
          <a:p>
            <a:r>
              <a:rPr lang="en-US" sz="1100" dirty="0">
                <a:solidFill>
                  <a:schemeClr val="tx1"/>
                </a:solidFill>
              </a:rPr>
              <a:t>Proof of ownership is returned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0366A55-5B5A-E44E-B980-24B8EF5682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37411" y="2254624"/>
            <a:ext cx="572247" cy="57224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3D59724-0329-AD4A-B80B-A68668C7A0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00681" y="1627094"/>
            <a:ext cx="572247" cy="57224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DA1EE72-AC3F-2B4C-BA8D-01E3592085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54705" y="2254624"/>
            <a:ext cx="572247" cy="57224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E4D5CCD-2318-C84E-AA89-E5C92FE7A2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0117" y="2245659"/>
            <a:ext cx="572247" cy="572247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5A1EF01-4D01-3149-B1A9-77AEB2BFAAE2}"/>
              </a:ext>
            </a:extLst>
          </p:cNvPr>
          <p:cNvSpPr txBox="1"/>
          <p:nvPr/>
        </p:nvSpPr>
        <p:spPr>
          <a:xfrm>
            <a:off x="5199530" y="2721906"/>
            <a:ext cx="49244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AAA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2FADE1F-2B12-7E40-A096-8978C3E4B58B}"/>
              </a:ext>
            </a:extLst>
          </p:cNvPr>
          <p:cNvSpPr txBox="1"/>
          <p:nvPr/>
        </p:nvSpPr>
        <p:spPr>
          <a:xfrm>
            <a:off x="5656729" y="2721906"/>
            <a:ext cx="73449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Registrar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97033E4-5629-654A-9418-FB1E4CD4F4CD}"/>
              </a:ext>
            </a:extLst>
          </p:cNvPr>
          <p:cNvSpPr txBox="1"/>
          <p:nvPr/>
        </p:nvSpPr>
        <p:spPr>
          <a:xfrm>
            <a:off x="6338047" y="2730870"/>
            <a:ext cx="62388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MASA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F6FE360-EA36-0143-998D-4A8245EBFD22}"/>
              </a:ext>
            </a:extLst>
          </p:cNvPr>
          <p:cNvSpPr txBox="1"/>
          <p:nvPr/>
        </p:nvSpPr>
        <p:spPr>
          <a:xfrm>
            <a:off x="7494494" y="2094376"/>
            <a:ext cx="98456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Manufacturer </a:t>
            </a:r>
          </a:p>
        </p:txBody>
      </p:sp>
      <p:sp>
        <p:nvSpPr>
          <p:cNvPr id="21" name="Rectangle 2">
            <a:extLst>
              <a:ext uri="{FF2B5EF4-FFF2-40B4-BE49-F238E27FC236}">
                <a16:creationId xmlns:a16="http://schemas.microsoft.com/office/drawing/2014/main" id="{E0803B3C-C085-F049-929D-9C005438C4D4}"/>
              </a:ext>
            </a:extLst>
          </p:cNvPr>
          <p:cNvSpPr txBox="1">
            <a:spLocks noChangeArrowheads="1"/>
          </p:cNvSpPr>
          <p:nvPr/>
        </p:nvSpPr>
        <p:spPr>
          <a:xfrm>
            <a:off x="139700" y="5092700"/>
            <a:ext cx="8318500" cy="10033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/>
              <a:t>BRSKI allows for such level 3 requirements on both sides</a:t>
            </a:r>
            <a:endParaRPr lang="en-US" dirty="0">
              <a:solidFill>
                <a:schemeClr val="tx1"/>
              </a:solidFill>
            </a:endParaRP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8D6C6942-566E-8043-9901-FBF3EC9D224C}"/>
              </a:ext>
            </a:extLst>
          </p:cNvPr>
          <p:cNvCxnSpPr/>
          <p:nvPr/>
        </p:nvCxnSpPr>
        <p:spPr bwMode="auto">
          <a:xfrm>
            <a:off x="3073400" y="3632200"/>
            <a:ext cx="22225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AA42B8C-D031-6449-BD00-0D363EE8A97B}"/>
              </a:ext>
            </a:extLst>
          </p:cNvPr>
          <p:cNvCxnSpPr>
            <a:cxnSpLocks/>
          </p:cNvCxnSpPr>
          <p:nvPr/>
        </p:nvCxnSpPr>
        <p:spPr bwMode="auto">
          <a:xfrm flipV="1">
            <a:off x="5448300" y="3048000"/>
            <a:ext cx="0" cy="21590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5080DCFB-F771-CA46-9EDD-244AA4573333}"/>
              </a:ext>
            </a:extLst>
          </p:cNvPr>
          <p:cNvCxnSpPr>
            <a:cxnSpLocks/>
          </p:cNvCxnSpPr>
          <p:nvPr/>
        </p:nvCxnSpPr>
        <p:spPr bwMode="auto">
          <a:xfrm>
            <a:off x="5397500" y="2146300"/>
            <a:ext cx="19558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EF534BC5-9D50-A442-A55E-03D13B1B834F}"/>
              </a:ext>
            </a:extLst>
          </p:cNvPr>
          <p:cNvCxnSpPr>
            <a:cxnSpLocks/>
          </p:cNvCxnSpPr>
          <p:nvPr/>
        </p:nvCxnSpPr>
        <p:spPr bwMode="auto">
          <a:xfrm>
            <a:off x="5740400" y="3048000"/>
            <a:ext cx="21336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6629B24C-42E7-F440-988E-0DFECEDA5F09}"/>
              </a:ext>
            </a:extLst>
          </p:cNvPr>
          <p:cNvCxnSpPr>
            <a:cxnSpLocks/>
          </p:cNvCxnSpPr>
          <p:nvPr/>
        </p:nvCxnSpPr>
        <p:spPr bwMode="auto">
          <a:xfrm flipV="1">
            <a:off x="5702300" y="3098800"/>
            <a:ext cx="0" cy="21590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F5C70BF6-98A9-4D49-9B1C-B7D1A49415BF}"/>
              </a:ext>
            </a:extLst>
          </p:cNvPr>
          <p:cNvCxnSpPr/>
          <p:nvPr/>
        </p:nvCxnSpPr>
        <p:spPr bwMode="auto">
          <a:xfrm>
            <a:off x="3086100" y="4381500"/>
            <a:ext cx="22225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</p:cxnSp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4831A31F-16CE-9843-9172-C59AD16E5CFA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33" name="Slide Number Placeholder 3">
            <a:extLst>
              <a:ext uri="{FF2B5EF4-FFF2-40B4-BE49-F238E27FC236}">
                <a16:creationId xmlns:a16="http://schemas.microsoft.com/office/drawing/2014/main" id="{D0C80F78-8AAB-0243-BB48-7987C953CB7A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16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8278620"/>
      </p:ext>
    </p:extLst>
  </p:cSld>
  <p:clrMapOvr>
    <a:masterClrMapping/>
  </p:clrMapOvr>
  <p:transition spd="med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21C-435E-2645-BC2F-83E781DF4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508" y="915535"/>
            <a:ext cx="8345488" cy="731837"/>
          </a:xfrm>
        </p:spPr>
        <p:txBody>
          <a:bodyPr/>
          <a:lstStyle/>
          <a:p>
            <a:r>
              <a:rPr lang="en-US" dirty="0"/>
              <a:t>Approaches to onboarding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7FB95BA-F310-6649-9C74-7D021B08B9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4496881"/>
              </p:ext>
            </p:extLst>
          </p:nvPr>
        </p:nvGraphicFramePr>
        <p:xfrm>
          <a:off x="212796" y="1835151"/>
          <a:ext cx="8563201" cy="3789556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681319">
                  <a:extLst>
                    <a:ext uri="{9D8B030D-6E8A-4147-A177-3AD203B41FA5}">
                      <a16:colId xmlns:a16="http://schemas.microsoft.com/office/drawing/2014/main" val="2565129476"/>
                    </a:ext>
                  </a:extLst>
                </a:gridCol>
                <a:gridCol w="674915">
                  <a:extLst>
                    <a:ext uri="{9D8B030D-6E8A-4147-A177-3AD203B41FA5}">
                      <a16:colId xmlns:a16="http://schemas.microsoft.com/office/drawing/2014/main" val="4236255655"/>
                    </a:ext>
                  </a:extLst>
                </a:gridCol>
                <a:gridCol w="1088571">
                  <a:extLst>
                    <a:ext uri="{9D8B030D-6E8A-4147-A177-3AD203B41FA5}">
                      <a16:colId xmlns:a16="http://schemas.microsoft.com/office/drawing/2014/main" val="1562272406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1556747799"/>
                    </a:ext>
                  </a:extLst>
                </a:gridCol>
                <a:gridCol w="1458686">
                  <a:extLst>
                    <a:ext uri="{9D8B030D-6E8A-4147-A177-3AD203B41FA5}">
                      <a16:colId xmlns:a16="http://schemas.microsoft.com/office/drawing/2014/main" val="1837671168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927182535"/>
                    </a:ext>
                  </a:extLst>
                </a:gridCol>
                <a:gridCol w="1322910">
                  <a:extLst>
                    <a:ext uri="{9D8B030D-6E8A-4147-A177-3AD203B41FA5}">
                      <a16:colId xmlns:a16="http://schemas.microsoft.com/office/drawing/2014/main" val="3197048207"/>
                    </a:ext>
                  </a:extLst>
                </a:gridCol>
              </a:tblGrid>
              <a:tr h="515343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W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Simple Serial 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DP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BRSKI w/ sales integ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BRSKI no sales integ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BRSKI with PO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1577515"/>
                  </a:ext>
                </a:extLst>
              </a:tr>
              <a:tr h="449335">
                <a:tc>
                  <a:txBody>
                    <a:bodyPr/>
                    <a:lstStyle/>
                    <a:p>
                      <a:r>
                        <a:rPr lang="en-US" sz="1200" dirty="0"/>
                        <a:t>Correct Network Sele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No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2942096"/>
                  </a:ext>
                </a:extLst>
              </a:tr>
              <a:tr h="449335">
                <a:tc>
                  <a:txBody>
                    <a:bodyPr/>
                    <a:lstStyle/>
                    <a:p>
                      <a:r>
                        <a:rPr lang="en-US" sz="1200" dirty="0"/>
                        <a:t>Onboard without </a:t>
                      </a:r>
                    </a:p>
                    <a:p>
                      <a:r>
                        <a:rPr lang="en-US" sz="1200" dirty="0"/>
                        <a:t>Internet ac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Y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Y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Y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7310307"/>
                  </a:ext>
                </a:extLst>
              </a:tr>
              <a:tr h="269601">
                <a:tc>
                  <a:txBody>
                    <a:bodyPr/>
                    <a:lstStyle/>
                    <a:p>
                      <a:r>
                        <a:rPr lang="en-US" sz="1200" dirty="0"/>
                        <a:t>Proof of ownershi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No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No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Yes*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Yes***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4298322"/>
                  </a:ext>
                </a:extLst>
              </a:tr>
              <a:tr h="269601">
                <a:tc>
                  <a:txBody>
                    <a:bodyPr/>
                    <a:lstStyle/>
                    <a:p>
                      <a:r>
                        <a:rPr lang="en-US" sz="1200" dirty="0"/>
                        <a:t>Supply chain secur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No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No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No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Yes**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arti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0150754"/>
                  </a:ext>
                </a:extLst>
              </a:tr>
              <a:tr h="269601">
                <a:tc>
                  <a:txBody>
                    <a:bodyPr/>
                    <a:lstStyle/>
                    <a:p>
                      <a:r>
                        <a:rPr lang="en-US" sz="1200"/>
                        <a:t>Hands free*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No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Y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2719249"/>
                  </a:ext>
                </a:extLst>
              </a:tr>
              <a:tr h="269601">
                <a:tc>
                  <a:txBody>
                    <a:bodyPr/>
                    <a:lstStyle/>
                    <a:p>
                      <a:r>
                        <a:rPr lang="en-US" sz="1200"/>
                        <a:t>Well secure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No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ayb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Y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Y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949951"/>
                  </a:ext>
                </a:extLst>
              </a:tr>
              <a:tr h="449335">
                <a:tc>
                  <a:txBody>
                    <a:bodyPr/>
                    <a:lstStyle/>
                    <a:p>
                      <a:r>
                        <a:rPr lang="en-US" sz="1200"/>
                        <a:t>Statu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Her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t plann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/>
                        <a:t>St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artially standardiz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Partially standardiz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Beginn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7702440"/>
                  </a:ext>
                </a:extLst>
              </a:tr>
              <a:tr h="348133">
                <a:tc>
                  <a:txBody>
                    <a:bodyPr/>
                    <a:lstStyle/>
                    <a:p>
                      <a:r>
                        <a:rPr lang="en-US" sz="1200" dirty="0"/>
                        <a:t>Key 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er 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/>
                        <a:t>Asym</a:t>
                      </a:r>
                      <a:r>
                        <a:rPr lang="en-US" sz="1200" dirty="0"/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X.5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X.5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X.509 + priva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0354820"/>
                  </a:ext>
                </a:extLst>
              </a:tr>
              <a:tr h="348133">
                <a:tc>
                  <a:txBody>
                    <a:bodyPr/>
                    <a:lstStyle/>
                    <a:p>
                      <a:r>
                        <a:rPr lang="en-US" sz="1200" dirty="0"/>
                        <a:t>Manufacturing </a:t>
                      </a:r>
                    </a:p>
                    <a:p>
                      <a:r>
                        <a:rPr lang="en-US" sz="1200" dirty="0"/>
                        <a:t>complex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/>
                        <a:t>Nvram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erial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ublic Key + label/B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err="1"/>
                        <a:t>Cert+Back</a:t>
                      </a:r>
                      <a:r>
                        <a:rPr lang="en-US" sz="1200" dirty="0"/>
                        <a:t> End Integ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Ce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err="1"/>
                        <a:t>Cert+label</a:t>
                      </a:r>
                      <a:r>
                        <a:rPr lang="en-US" sz="1200" dirty="0"/>
                        <a:t>/BOM</a:t>
                      </a:r>
                    </a:p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0661097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C24E5986-B1AE-BE41-A1BC-43E489E61FB4}"/>
              </a:ext>
            </a:extLst>
          </p:cNvPr>
          <p:cNvSpPr txBox="1"/>
          <p:nvPr/>
        </p:nvSpPr>
        <p:spPr>
          <a:xfrm>
            <a:off x="5227481" y="5700906"/>
            <a:ext cx="3340979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/>
                </a:solidFill>
                <a:latin typeface="+mn-lt"/>
              </a:rPr>
              <a:t>*Hands free = no label or BOM integration</a:t>
            </a:r>
          </a:p>
          <a:p>
            <a:r>
              <a:rPr lang="en-US" sz="1000" dirty="0">
                <a:solidFill>
                  <a:schemeClr val="tx1"/>
                </a:solidFill>
                <a:latin typeface="+mn-lt"/>
              </a:rPr>
              <a:t>**Assumes protection of proof of ownership</a:t>
            </a:r>
          </a:p>
          <a:p>
            <a:r>
              <a:rPr lang="en-US" sz="1000" dirty="0">
                <a:solidFill>
                  <a:schemeClr val="tx1"/>
                </a:solidFill>
                <a:latin typeface="+mn-lt"/>
              </a:rPr>
              <a:t>***Assumes Internet access to enterprise AAA at some poin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25306B-9F24-454B-9590-961550F8BD10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808CD1D0-F8D9-CF40-8D9A-0553A328E26B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17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888266"/>
      </p:ext>
    </p:extLst>
  </p:cSld>
  <p:clrMapOvr>
    <a:masterClrMapping/>
  </p:clrMapOvr>
  <p:transition spd="slow"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F62E3E-94CD-40A6-8D00-652190883A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 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10EEF6-D625-42AD-8B98-9E2800E526A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440F5867-744E-4AA6-B0ED-4C44D2DFBB7B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25B77F-B625-49D7-ACCC-A65C0C6309F3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Jerome Henry, Cisco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FEEA5B4-D477-40A0-9187-4B72BCD2E5A7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/>
              <a:t>November 2018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C49338E-87B6-4593-A298-DD7D0FD476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817784"/>
            <a:ext cx="7770813" cy="4276630"/>
          </a:xfrm>
        </p:spPr>
        <p:txBody>
          <a:bodyPr/>
          <a:lstStyle/>
          <a:p>
            <a:pPr>
              <a:buFont typeface="Arial" charset="0"/>
              <a:buChar char="•"/>
            </a:pPr>
            <a:r>
              <a:rPr lang="en-US" dirty="0"/>
              <a:t>IoT onboarding presents new requirements for 802.11 exchanges</a:t>
            </a:r>
          </a:p>
          <a:p>
            <a:pPr>
              <a:buFont typeface="Arial" charset="0"/>
              <a:buChar char="•"/>
            </a:pPr>
            <a:r>
              <a:rPr lang="en-US" dirty="0"/>
              <a:t>Collaboration with IETF may help better refine the associated needs for 802.11</a:t>
            </a:r>
          </a:p>
          <a:p>
            <a:pPr>
              <a:buFont typeface="Arial" charset="0"/>
              <a:buChar char="•"/>
            </a:pPr>
            <a:r>
              <a:rPr lang="en-US" dirty="0"/>
              <a:t>New IEs in existing or new frames may be proposed to solve the various use cases</a:t>
            </a:r>
          </a:p>
          <a:p>
            <a:pPr>
              <a:buFont typeface="Arial" charset="0"/>
              <a:buChar char="•"/>
            </a:pPr>
            <a:endParaRPr lang="en-US" dirty="0"/>
          </a:p>
          <a:p>
            <a:pPr>
              <a:buFont typeface="Arial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607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F62E3E-94CD-40A6-8D00-652190883A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10EEF6-D625-42AD-8B98-9E2800E526A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25B77F-B625-49D7-ACCC-A65C0C6309F3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Jerome Henry, Cisco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FEEA5B4-D477-40A0-9187-4B72BCD2E5A7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/>
              <a:t>November 2018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C49338E-87B6-4593-A298-DD7D0FD476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817784"/>
            <a:ext cx="7770813" cy="427663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BRSKI over IEEE 802.11, draft-friel-anima-brski-over-802dot11-00, https://</a:t>
            </a:r>
            <a:r>
              <a:rPr lang="en-US" dirty="0" err="1"/>
              <a:t>datatracker.ietf.org</a:t>
            </a:r>
            <a:r>
              <a:rPr lang="en-US" dirty="0"/>
              <a:t>/doc/draft-friel-anima-brski-over-802dot11/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Proof of Possession to Devices for Onboarding, draft-lear-brski-pop-00, https://</a:t>
            </a:r>
            <a:r>
              <a:rPr lang="en-US" dirty="0" err="1"/>
              <a:t>datatracker.ietf.org</a:t>
            </a:r>
            <a:r>
              <a:rPr lang="en-US" dirty="0"/>
              <a:t>/doc/draft-</a:t>
            </a:r>
            <a:r>
              <a:rPr lang="en-US" dirty="0" err="1"/>
              <a:t>lear</a:t>
            </a:r>
            <a:r>
              <a:rPr lang="en-US" dirty="0"/>
              <a:t>-</a:t>
            </a:r>
            <a:r>
              <a:rPr lang="en-US" dirty="0" err="1"/>
              <a:t>brski</a:t>
            </a:r>
            <a:r>
              <a:rPr lang="en-US" dirty="0"/>
              <a:t>-pop/</a:t>
            </a:r>
          </a:p>
          <a:p>
            <a:pPr>
              <a:buFont typeface="Arial" charset="0"/>
              <a:buChar char="•"/>
            </a:pPr>
            <a:endParaRPr lang="en-US" dirty="0"/>
          </a:p>
          <a:p>
            <a:pPr>
              <a:buFont typeface="Arial" charset="0"/>
              <a:buChar char="•"/>
            </a:pPr>
            <a:r>
              <a:rPr lang="en-US" dirty="0"/>
              <a:t>Worth noting: IETF </a:t>
            </a:r>
            <a:r>
              <a:rPr lang="en-US" dirty="0" err="1"/>
              <a:t>opsawg</a:t>
            </a:r>
            <a:r>
              <a:rPr lang="en-US" dirty="0"/>
              <a:t> and anima mailing lists, upcoming </a:t>
            </a:r>
            <a:r>
              <a:rPr lang="en-US" b="0" dirty="0">
                <a:hlinkClick r:id="rId2"/>
              </a:rPr>
              <a:t>iot-onboarding@ietf.org</a:t>
            </a:r>
            <a:r>
              <a:rPr lang="en-US" b="0" dirty="0"/>
              <a:t> </a:t>
            </a:r>
            <a:r>
              <a:rPr lang="en-US" dirty="0"/>
              <a:t>mailing list</a:t>
            </a:r>
          </a:p>
          <a:p>
            <a:pPr>
              <a:buFont typeface="Arial" charset="0"/>
              <a:buChar char="•"/>
            </a:pPr>
            <a:endParaRPr lang="en-US" dirty="0"/>
          </a:p>
          <a:p>
            <a:pPr>
              <a:buFont typeface="Arial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58301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696912" y="333375"/>
            <a:ext cx="2589203" cy="273050"/>
          </a:xfrm>
        </p:spPr>
        <p:txBody>
          <a:bodyPr/>
          <a:lstStyle/>
          <a:p>
            <a:r>
              <a:rPr lang="en-US" dirty="0"/>
              <a:t>November 2018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>
          <a:xfrm>
            <a:off x="5500694" y="6475413"/>
            <a:ext cx="3041644" cy="180975"/>
          </a:xfrm>
        </p:spPr>
        <p:txBody>
          <a:bodyPr/>
          <a:lstStyle/>
          <a:p>
            <a:r>
              <a:rPr lang="en-GB" dirty="0"/>
              <a:t>Jerome Henry, Cisc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351F4386-A5E2-41A1-B4D0-BE653C929E06}" type="slidenum">
              <a:rPr lang="en-GB"/>
              <a:pPr/>
              <a:t>2</a:t>
            </a:fld>
            <a:endParaRPr lang="en-GB" dirty="0"/>
          </a:p>
        </p:txBody>
      </p:sp>
      <p:sp>
        <p:nvSpPr>
          <p:cNvPr id="4097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5800"/>
            <a:ext cx="7772400" cy="1066800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dirty="0"/>
              <a:t>Abstract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0" y="1981200"/>
            <a:ext cx="7772400" cy="4114800"/>
          </a:xfrm>
          <a:ln/>
        </p:spPr>
        <p:txBody>
          <a:bodyPr/>
          <a:lstStyle/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This document presents challenges around IoT onboarding for 802.11, and suggests a few areas of possible cooperation between 802.11 and IETF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15116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4DA699-105A-C645-8521-2675A3FB4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 onboarding is simp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696FA3-ED55-9347-8FD7-A8276F24DF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5384" y="3310068"/>
            <a:ext cx="493517" cy="493517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815FD12B-A107-0448-A5D2-7CDD3301E839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5878163" y="3363310"/>
            <a:ext cx="464880" cy="464413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6" name="Freeform 14">
              <a:extLst>
                <a:ext uri="{FF2B5EF4-FFF2-40B4-BE49-F238E27FC236}">
                  <a16:creationId xmlns:a16="http://schemas.microsoft.com/office/drawing/2014/main" id="{3D733462-ADD8-D549-B1EC-3289C387E0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rgbClr val="007F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C4157FEC-B55E-F246-A4C2-D5D12634AF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rgbClr val="007F00"/>
                </a:solidFill>
                <a:latin typeface="Arial" charset="0"/>
                <a:ea typeface="ＭＳ Ｐゴシック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FD1E891B-81BD-144B-A639-32FF5B8886C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5459666" y="3392906"/>
            <a:ext cx="355600" cy="3556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B58F530-BD5C-D140-BFF9-9F9322C00D8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456489" y="3446694"/>
            <a:ext cx="355600" cy="355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78B9556-3295-FB42-B84A-BF3E0F55117E}"/>
              </a:ext>
            </a:extLst>
          </p:cNvPr>
          <p:cNvSpPr txBox="1"/>
          <p:nvPr/>
        </p:nvSpPr>
        <p:spPr>
          <a:xfrm>
            <a:off x="1147484" y="3959037"/>
            <a:ext cx="21050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Level 1: just need the SSID / PSK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263619B-EE2D-C545-8DBA-941DF714E271}"/>
              </a:ext>
            </a:extLst>
          </p:cNvPr>
          <p:cNvSpPr txBox="1"/>
          <p:nvPr/>
        </p:nvSpPr>
        <p:spPr>
          <a:xfrm>
            <a:off x="4849907" y="3914213"/>
            <a:ext cx="314541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Level 1: I accept any client with the right credentials</a:t>
            </a:r>
          </a:p>
        </p:txBody>
      </p:sp>
      <p:sp>
        <p:nvSpPr>
          <p:cNvPr id="12" name="Rectangle 2">
            <a:extLst>
              <a:ext uri="{FF2B5EF4-FFF2-40B4-BE49-F238E27FC236}">
                <a16:creationId xmlns:a16="http://schemas.microsoft.com/office/drawing/2014/main" id="{911484FB-5EF8-9346-A201-CEDCCD01E264}"/>
              </a:ext>
            </a:extLst>
          </p:cNvPr>
          <p:cNvSpPr txBox="1">
            <a:spLocks noChangeArrowheads="1"/>
          </p:cNvSpPr>
          <p:nvPr/>
        </p:nvSpPr>
        <p:spPr>
          <a:xfrm>
            <a:off x="685800" y="1981200"/>
            <a:ext cx="7772400" cy="41148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kern="0" dirty="0"/>
              <a:t>A headless IoT device needs to be told the SSID and its associated credentials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kern="0" dirty="0"/>
              <a:t>At this basic level (“level 1”), connectivity is the main objective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41422116-E4A1-A74E-88A1-7DF388C48101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ABE242B4-84F1-8347-8832-01F7B592DB3B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3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7652828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4DA699-105A-C645-8521-2675A3FB4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 Provisioning is simp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696FA3-ED55-9347-8FD7-A8276F24DF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5384" y="3310068"/>
            <a:ext cx="493517" cy="493517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815FD12B-A107-0448-A5D2-7CDD3301E839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5878163" y="3363310"/>
            <a:ext cx="464880" cy="464413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6" name="Freeform 14">
              <a:extLst>
                <a:ext uri="{FF2B5EF4-FFF2-40B4-BE49-F238E27FC236}">
                  <a16:creationId xmlns:a16="http://schemas.microsoft.com/office/drawing/2014/main" id="{3D733462-ADD8-D549-B1EC-3289C387E0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rgbClr val="007F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C4157FEC-B55E-F246-A4C2-D5D12634AF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rgbClr val="007F00"/>
                </a:solidFill>
                <a:latin typeface="Arial" charset="0"/>
                <a:ea typeface="ＭＳ Ｐゴシック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FD1E891B-81BD-144B-A639-32FF5B8886C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5459666" y="3392906"/>
            <a:ext cx="355600" cy="3556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B58F530-BD5C-D140-BFF9-9F9322C00D8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456489" y="3446694"/>
            <a:ext cx="355600" cy="355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78B9556-3295-FB42-B84A-BF3E0F55117E}"/>
              </a:ext>
            </a:extLst>
          </p:cNvPr>
          <p:cNvSpPr txBox="1"/>
          <p:nvPr/>
        </p:nvSpPr>
        <p:spPr>
          <a:xfrm>
            <a:off x="1147484" y="3959037"/>
            <a:ext cx="21050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Level 1: just need the SSID / PSK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263619B-EE2D-C545-8DBA-941DF714E271}"/>
              </a:ext>
            </a:extLst>
          </p:cNvPr>
          <p:cNvSpPr txBox="1"/>
          <p:nvPr/>
        </p:nvSpPr>
        <p:spPr>
          <a:xfrm>
            <a:off x="4849907" y="3914213"/>
            <a:ext cx="314541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Level 1: I accept any client with the right credentials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8DA830BE-8B64-334E-9747-21889BDA8F04}"/>
              </a:ext>
            </a:extLst>
          </p:cNvPr>
          <p:cNvCxnSpPr/>
          <p:nvPr/>
        </p:nvCxnSpPr>
        <p:spPr>
          <a:xfrm>
            <a:off x="1721225" y="2865344"/>
            <a:ext cx="340659" cy="4123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CF358039-9BC1-2245-A9EB-CA2CF51B7445}"/>
              </a:ext>
            </a:extLst>
          </p:cNvPr>
          <p:cNvCxnSpPr/>
          <p:nvPr/>
        </p:nvCxnSpPr>
        <p:spPr>
          <a:xfrm>
            <a:off x="1595719" y="2937061"/>
            <a:ext cx="340659" cy="4123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53599502-E4D5-E34F-9D34-5ECBBEAD4B06}"/>
              </a:ext>
            </a:extLst>
          </p:cNvPr>
          <p:cNvSpPr txBox="1"/>
          <p:nvPr/>
        </p:nvSpPr>
        <p:spPr>
          <a:xfrm>
            <a:off x="1129553" y="2578475"/>
            <a:ext cx="198002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/>
                </a:solidFill>
              </a:rPr>
              <a:t>OOB (NFC, BT etc.) or P2P Wi-Fi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D73A8EA-4625-FF40-ABF3-DECBE90EB347}"/>
              </a:ext>
            </a:extLst>
          </p:cNvPr>
          <p:cNvSpPr txBox="1"/>
          <p:nvPr/>
        </p:nvSpPr>
        <p:spPr>
          <a:xfrm>
            <a:off x="609601" y="3089460"/>
            <a:ext cx="116891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accent1"/>
                </a:solidFill>
              </a:rPr>
              <a:t>SSID, credential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3092D56-B643-9449-A805-8BA2A17AF2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5544" y="2426074"/>
            <a:ext cx="641350" cy="641350"/>
          </a:xfrm>
          <a:prstGeom prst="rect">
            <a:avLst/>
          </a:prstGeom>
        </p:spPr>
      </p:pic>
      <p:sp>
        <p:nvSpPr>
          <p:cNvPr id="17" name="Rectangle 2">
            <a:extLst>
              <a:ext uri="{FF2B5EF4-FFF2-40B4-BE49-F238E27FC236}">
                <a16:creationId xmlns:a16="http://schemas.microsoft.com/office/drawing/2014/main" id="{4E5D94F7-91C1-2443-B2D0-C728E03A1095}"/>
              </a:ext>
            </a:extLst>
          </p:cNvPr>
          <p:cNvSpPr txBox="1">
            <a:spLocks noChangeArrowheads="1"/>
          </p:cNvSpPr>
          <p:nvPr/>
        </p:nvSpPr>
        <p:spPr>
          <a:xfrm>
            <a:off x="685800" y="1981200"/>
            <a:ext cx="7772400" cy="41148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kern="0" dirty="0"/>
              <a:t>Several solutions have been developed to solve this provisioning problem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kern="0" dirty="0"/>
              <a:t>This can be seen as an “individual scale” provisioning problem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DEDF9744-F6D9-2844-A9B5-C79C8E73C66F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19" name="Slide Number Placeholder 3">
            <a:extLst>
              <a:ext uri="{FF2B5EF4-FFF2-40B4-BE49-F238E27FC236}">
                <a16:creationId xmlns:a16="http://schemas.microsoft.com/office/drawing/2014/main" id="{CE043FD0-BF2A-E445-9B64-38D468E26BB8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4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1937425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4DA699-105A-C645-8521-2675A3FB4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visioning at Scale is not solved ye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696FA3-ED55-9347-8FD7-A8276F24DF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103" y="3041127"/>
            <a:ext cx="299348" cy="2993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815FD12B-A107-0448-A5D2-7CDD3301E839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5878163" y="3363310"/>
            <a:ext cx="464880" cy="464413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6" name="Freeform 14">
              <a:extLst>
                <a:ext uri="{FF2B5EF4-FFF2-40B4-BE49-F238E27FC236}">
                  <a16:creationId xmlns:a16="http://schemas.microsoft.com/office/drawing/2014/main" id="{3D733462-ADD8-D549-B1EC-3289C387E0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rgbClr val="007F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C4157FEC-B55E-F246-A4C2-D5D12634AF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rgbClr val="007F00"/>
                </a:solidFill>
                <a:latin typeface="Arial" charset="0"/>
                <a:ea typeface="ＭＳ Ｐゴシック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FD1E891B-81BD-144B-A639-32FF5B8886C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5459666" y="3392906"/>
            <a:ext cx="355600" cy="3556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03A90D4-5620-044D-B0E7-C4BFDE2F9F02}"/>
              </a:ext>
            </a:extLst>
          </p:cNvPr>
          <p:cNvPicPr>
            <a:picLocks noChangeAspect="1"/>
          </p:cNvPicPr>
          <p:nvPr/>
        </p:nvPicPr>
        <p:blipFill>
          <a:blip r:embed="rId4">
            <a:grayscl/>
          </a:blip>
          <a:stretch>
            <a:fillRect/>
          </a:stretch>
        </p:blipFill>
        <p:spPr>
          <a:xfrm>
            <a:off x="373529" y="2081306"/>
            <a:ext cx="3251200" cy="32512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4E3864D-BF7B-BD4A-A9BF-FA47CE81DB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1644" y="2933550"/>
            <a:ext cx="299348" cy="29934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61938B4-BEF2-7C44-8AB5-0018B547E6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373" y="3552115"/>
            <a:ext cx="299348" cy="29934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2D1189A-CEFC-1744-93FF-6307E3A5DE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2679" y="3552115"/>
            <a:ext cx="299348" cy="29934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DF90D9F-A833-7E46-B3C3-B214E54E0F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1644" y="3247316"/>
            <a:ext cx="299348" cy="29934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8E68C19-0F97-654D-B7A2-068151381C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373" y="3238350"/>
            <a:ext cx="299348" cy="299348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706747A-FC11-274A-912B-6EE4024A38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9174" y="3247315"/>
            <a:ext cx="299348" cy="29934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4C843A7E-F9CE-B04F-842A-87F5B5C860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23974" y="3256280"/>
            <a:ext cx="299348" cy="29934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CCEF63D-234D-204F-884A-489C4C8481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2938" y="2951480"/>
            <a:ext cx="299348" cy="29934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D5E79B86-5AFC-AB4C-B7FC-2D2A23E573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9174" y="2942515"/>
            <a:ext cx="299348" cy="299348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30DA2617-1DDF-174E-93CF-41B62FC377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3339" y="2933550"/>
            <a:ext cx="299348" cy="29934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ECA96B81-7ACC-1340-8E8F-C5A37D2AEE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9173" y="3543150"/>
            <a:ext cx="299348" cy="299348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274917B5-BCED-354F-B6D7-8AE7C53D32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0867" y="3552115"/>
            <a:ext cx="299348" cy="299348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904E2CCF-0D9E-C74C-8428-EBB1661985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55203" y="4783791"/>
            <a:ext cx="438685" cy="394073"/>
          </a:xfrm>
          <a:prstGeom prst="rect">
            <a:avLst/>
          </a:prstGeom>
        </p:spPr>
      </p:pic>
      <p:sp>
        <p:nvSpPr>
          <p:cNvPr id="29" name="Rectangle 2">
            <a:extLst>
              <a:ext uri="{FF2B5EF4-FFF2-40B4-BE49-F238E27FC236}">
                <a16:creationId xmlns:a16="http://schemas.microsoft.com/office/drawing/2014/main" id="{06864DDD-39E5-104E-B552-A21D4D996B98}"/>
              </a:ext>
            </a:extLst>
          </p:cNvPr>
          <p:cNvSpPr txBox="1">
            <a:spLocks noChangeArrowheads="1"/>
          </p:cNvSpPr>
          <p:nvPr/>
        </p:nvSpPr>
        <p:spPr>
          <a:xfrm>
            <a:off x="685800" y="2768600"/>
            <a:ext cx="7772400" cy="33274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kern="0" dirty="0"/>
              <a:t>“individual scale” provisioning solutions are challenged for “building scale” provisioning scenarios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</p:txBody>
      </p:sp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F9AC6349-50A1-114D-99B6-7446925B0EE6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33" name="Slide Number Placeholder 3">
            <a:extLst>
              <a:ext uri="{FF2B5EF4-FFF2-40B4-BE49-F238E27FC236}">
                <a16:creationId xmlns:a16="http://schemas.microsoft.com/office/drawing/2014/main" id="{C29855AC-AF57-6D4C-B1A1-DB38C3F083D4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5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58368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4DA699-105A-C645-8521-2675A3FB4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visioning at Scale is not solved ye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696FA3-ED55-9347-8FD7-A8276F24DF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103" y="3041127"/>
            <a:ext cx="299348" cy="2993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815FD12B-A107-0448-A5D2-7CDD3301E839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5878163" y="3363310"/>
            <a:ext cx="464880" cy="464413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6" name="Freeform 14">
              <a:extLst>
                <a:ext uri="{FF2B5EF4-FFF2-40B4-BE49-F238E27FC236}">
                  <a16:creationId xmlns:a16="http://schemas.microsoft.com/office/drawing/2014/main" id="{3D733462-ADD8-D549-B1EC-3289C387E0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rgbClr val="007F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C4157FEC-B55E-F246-A4C2-D5D12634AF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rgbClr val="007F00"/>
                </a:solidFill>
                <a:latin typeface="Arial" charset="0"/>
                <a:ea typeface="ＭＳ Ｐゴシック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FD1E891B-81BD-144B-A639-32FF5B8886C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5459666" y="3392906"/>
            <a:ext cx="355600" cy="3556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263619B-EE2D-C545-8DBA-941DF714E271}"/>
              </a:ext>
            </a:extLst>
          </p:cNvPr>
          <p:cNvSpPr txBox="1"/>
          <p:nvPr/>
        </p:nvSpPr>
        <p:spPr>
          <a:xfrm>
            <a:off x="2617695" y="3605677"/>
            <a:ext cx="291778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Individual P2P communication and provisio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(times n individual devices)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4E3864D-BF7B-BD4A-A9BF-FA47CE81DB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1644" y="2933550"/>
            <a:ext cx="299348" cy="29934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61938B4-BEF2-7C44-8AB5-0018B547E6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373" y="3552115"/>
            <a:ext cx="299348" cy="29934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2D1189A-CEFC-1744-93FF-6307E3A5DE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2679" y="3552115"/>
            <a:ext cx="299348" cy="29934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DF90D9F-A833-7E46-B3C3-B214E54E0F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1644" y="3247316"/>
            <a:ext cx="299348" cy="29934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8E68C19-0F97-654D-B7A2-068151381C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373" y="3238350"/>
            <a:ext cx="299348" cy="299348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706747A-FC11-274A-912B-6EE4024A38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9174" y="3247315"/>
            <a:ext cx="299348" cy="29934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4C843A7E-F9CE-B04F-842A-87F5B5C860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23974" y="3256280"/>
            <a:ext cx="299348" cy="29934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CCEF63D-234D-204F-884A-489C4C8481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2938" y="2951480"/>
            <a:ext cx="299348" cy="29934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D5E79B86-5AFC-AB4C-B7FC-2D2A23E573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9174" y="2942515"/>
            <a:ext cx="299348" cy="299348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30DA2617-1DDF-174E-93CF-41B62FC377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3339" y="2933550"/>
            <a:ext cx="299348" cy="29934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ECA96B81-7ACC-1340-8E8F-C5A37D2AEE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9173" y="3543150"/>
            <a:ext cx="299348" cy="299348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274917B5-BCED-354F-B6D7-8AE7C53D32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0867" y="3552115"/>
            <a:ext cx="299348" cy="299348"/>
          </a:xfrm>
          <a:prstGeom prst="rect">
            <a:avLst/>
          </a:prstGeom>
        </p:spPr>
      </p:pic>
      <p:sp>
        <p:nvSpPr>
          <p:cNvPr id="29" name="Rectangle 2">
            <a:extLst>
              <a:ext uri="{FF2B5EF4-FFF2-40B4-BE49-F238E27FC236}">
                <a16:creationId xmlns:a16="http://schemas.microsoft.com/office/drawing/2014/main" id="{06864DDD-39E5-104E-B552-A21D4D996B98}"/>
              </a:ext>
            </a:extLst>
          </p:cNvPr>
          <p:cNvSpPr txBox="1">
            <a:spLocks noChangeArrowheads="1"/>
          </p:cNvSpPr>
          <p:nvPr/>
        </p:nvSpPr>
        <p:spPr>
          <a:xfrm>
            <a:off x="685800" y="1308100"/>
            <a:ext cx="7772400" cy="18034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kern="0" dirty="0"/>
              <a:t>“Individual scale” provisioning techniques only imperfectly solve the “building scale” case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kern="0" dirty="0"/>
              <a:t>Potential excessive airtime consumption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kern="0" dirty="0"/>
              <a:t>“Regular” 802.11 process vs “IoT” process mismatches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2884EFC3-E5EF-D148-8B7F-9FD47AF3A0F3}"/>
              </a:ext>
            </a:extLst>
          </p:cNvPr>
          <p:cNvCxnSpPr/>
          <p:nvPr/>
        </p:nvCxnSpPr>
        <p:spPr bwMode="auto">
          <a:xfrm flipH="1">
            <a:off x="2794000" y="3517900"/>
            <a:ext cx="23876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B53A4FD-11CC-1442-94B6-9D40F3EB1E18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65D7F908-8B7A-F346-8AA0-DE842498E522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6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473493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4DA699-105A-C645-8521-2675A3FB4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visioning at Scale is not solved ye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696FA3-ED55-9347-8FD7-A8276F24DF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103" y="3041127"/>
            <a:ext cx="299348" cy="2993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815FD12B-A107-0448-A5D2-7CDD3301E839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5878163" y="3363310"/>
            <a:ext cx="464880" cy="464413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6" name="Freeform 14">
              <a:extLst>
                <a:ext uri="{FF2B5EF4-FFF2-40B4-BE49-F238E27FC236}">
                  <a16:creationId xmlns:a16="http://schemas.microsoft.com/office/drawing/2014/main" id="{3D733462-ADD8-D549-B1EC-3289C387E0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rgbClr val="007F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C4157FEC-B55E-F246-A4C2-D5D12634AF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rgbClr val="007F00"/>
                </a:solidFill>
                <a:latin typeface="Arial" charset="0"/>
                <a:ea typeface="ＭＳ Ｐゴシック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FD1E891B-81BD-144B-A639-32FF5B8886C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5459666" y="3392906"/>
            <a:ext cx="355600" cy="3556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263619B-EE2D-C545-8DBA-941DF714E271}"/>
              </a:ext>
            </a:extLst>
          </p:cNvPr>
          <p:cNvSpPr txBox="1"/>
          <p:nvPr/>
        </p:nvSpPr>
        <p:spPr>
          <a:xfrm>
            <a:off x="5056095" y="3923177"/>
            <a:ext cx="1784463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Infrastructure needs to:</a:t>
            </a:r>
          </a:p>
          <a:p>
            <a:r>
              <a:rPr lang="en-US" sz="1100" dirty="0">
                <a:solidFill>
                  <a:schemeClr val="tx1"/>
                </a:solidFill>
              </a:rPr>
              <a:t>Advertise “IoT friendliness”</a:t>
            </a:r>
          </a:p>
          <a:p>
            <a:r>
              <a:rPr lang="en-US" sz="1100" dirty="0">
                <a:solidFill>
                  <a:schemeClr val="tx1"/>
                </a:solidFill>
              </a:rPr>
              <a:t>Automate provisioning 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4E3864D-BF7B-BD4A-A9BF-FA47CE81DB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1644" y="2933550"/>
            <a:ext cx="299348" cy="29934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61938B4-BEF2-7C44-8AB5-0018B547E6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373" y="3552115"/>
            <a:ext cx="299348" cy="29934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2D1189A-CEFC-1744-93FF-6307E3A5DE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2679" y="3552115"/>
            <a:ext cx="299348" cy="29934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DF90D9F-A833-7E46-B3C3-B214E54E0F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1644" y="3247316"/>
            <a:ext cx="299348" cy="29934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8E68C19-0F97-654D-B7A2-068151381C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373" y="3238350"/>
            <a:ext cx="299348" cy="299348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706747A-FC11-274A-912B-6EE4024A38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9174" y="3247315"/>
            <a:ext cx="299348" cy="29934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4C843A7E-F9CE-B04F-842A-87F5B5C860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23974" y="3256280"/>
            <a:ext cx="299348" cy="29934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CCEF63D-234D-204F-884A-489C4C8481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2938" y="2951480"/>
            <a:ext cx="299348" cy="29934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D5E79B86-5AFC-AB4C-B7FC-2D2A23E573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9174" y="2942515"/>
            <a:ext cx="299348" cy="299348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30DA2617-1DDF-174E-93CF-41B62FC377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3339" y="2933550"/>
            <a:ext cx="299348" cy="29934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ECA96B81-7ACC-1340-8E8F-C5A37D2AEE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9173" y="3543150"/>
            <a:ext cx="299348" cy="299348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274917B5-BCED-354F-B6D7-8AE7C53D32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0867" y="3552115"/>
            <a:ext cx="299348" cy="299348"/>
          </a:xfrm>
          <a:prstGeom prst="rect">
            <a:avLst/>
          </a:prstGeom>
        </p:spPr>
      </p:pic>
      <p:sp>
        <p:nvSpPr>
          <p:cNvPr id="29" name="Rectangle 2">
            <a:extLst>
              <a:ext uri="{FF2B5EF4-FFF2-40B4-BE49-F238E27FC236}">
                <a16:creationId xmlns:a16="http://schemas.microsoft.com/office/drawing/2014/main" id="{06864DDD-39E5-104E-B552-A21D4D996B98}"/>
              </a:ext>
            </a:extLst>
          </p:cNvPr>
          <p:cNvSpPr txBox="1">
            <a:spLocks noChangeArrowheads="1"/>
          </p:cNvSpPr>
          <p:nvPr/>
        </p:nvSpPr>
        <p:spPr>
          <a:xfrm>
            <a:off x="685800" y="1308100"/>
            <a:ext cx="7772400" cy="47879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kern="0" dirty="0"/>
              <a:t>For “building scale” provisioning, the awaking IoThing needs to detect “IoT SSIDs” through which inline automated onboarding mechanism may exist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r>
              <a:rPr lang="en-US" dirty="0">
                <a:solidFill>
                  <a:schemeClr val="tx1"/>
                </a:solidFill>
              </a:rPr>
              <a:t>802.11u, 802.11aq can advertise IoT support</a:t>
            </a:r>
          </a:p>
          <a:p>
            <a:r>
              <a:rPr lang="en-US" dirty="0">
                <a:solidFill>
                  <a:schemeClr val="tx1"/>
                </a:solidFill>
              </a:rPr>
              <a:t>Temporal tunnel could be used for secure provisioning (e.g. RFC 8110, EAP-TEAP-BRSKI, others)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</p:txBody>
      </p:sp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C0B8AD58-9A53-DB4F-844A-853DAC84391F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33" name="Slide Number Placeholder 3">
            <a:extLst>
              <a:ext uri="{FF2B5EF4-FFF2-40B4-BE49-F238E27FC236}">
                <a16:creationId xmlns:a16="http://schemas.microsoft.com/office/drawing/2014/main" id="{C581BCB3-A252-2E43-8DCC-48CE31C6CBBF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7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5588282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4DA699-105A-C645-8521-2675A3FB4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 1</a:t>
            </a:r>
          </a:p>
        </p:txBody>
      </p:sp>
      <p:sp>
        <p:nvSpPr>
          <p:cNvPr id="29" name="Rectangle 2">
            <a:extLst>
              <a:ext uri="{FF2B5EF4-FFF2-40B4-BE49-F238E27FC236}">
                <a16:creationId xmlns:a16="http://schemas.microsoft.com/office/drawing/2014/main" id="{06864DDD-39E5-104E-B552-A21D4D996B98}"/>
              </a:ext>
            </a:extLst>
          </p:cNvPr>
          <p:cNvSpPr txBox="1">
            <a:spLocks noChangeArrowheads="1"/>
          </p:cNvSpPr>
          <p:nvPr/>
        </p:nvSpPr>
        <p:spPr>
          <a:xfrm>
            <a:off x="685800" y="1308100"/>
            <a:ext cx="7772400" cy="47879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/>
              <a:t>802.11 messaging could be augmented to facilitate IoT onboarding at scale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Specific “IoT onboarding” values in 802.11u/</a:t>
            </a:r>
            <a:r>
              <a:rPr lang="en-US" kern="0" dirty="0" err="1">
                <a:solidFill>
                  <a:schemeClr val="tx1"/>
                </a:solidFill>
              </a:rPr>
              <a:t>aq</a:t>
            </a:r>
            <a:r>
              <a:rPr lang="en-US" kern="0" dirty="0">
                <a:solidFill>
                  <a:schemeClr val="tx1"/>
                </a:solidFill>
              </a:rPr>
              <a:t>, in beacons and probe responses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Options could be set to signal secure provisioning (e.g. RFC 8110)</a:t>
            </a:r>
            <a:endParaRPr lang="en-US" dirty="0">
              <a:solidFill>
                <a:schemeClr val="tx1"/>
              </a:solidFill>
            </a:endParaRP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3CDB7213-3345-7A4D-903F-42ADDE1CBE4C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BD205959-C039-234D-B0BA-151C50AD7C81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8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3739467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4DA699-105A-C645-8521-2675A3FB4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ased IoThing side Requiremen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696FA3-ED55-9347-8FD7-A8276F24DF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103" y="3041127"/>
            <a:ext cx="299348" cy="29934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263619B-EE2D-C545-8DBA-941DF714E271}"/>
              </a:ext>
            </a:extLst>
          </p:cNvPr>
          <p:cNvSpPr txBox="1"/>
          <p:nvPr/>
        </p:nvSpPr>
        <p:spPr>
          <a:xfrm>
            <a:off x="2366682" y="2219883"/>
            <a:ext cx="56137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SSID1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03A90D4-5620-044D-B0E7-C4BFDE2F9F02}"/>
              </a:ext>
            </a:extLst>
          </p:cNvPr>
          <p:cNvPicPr>
            <a:picLocks noChangeAspect="1"/>
          </p:cNvPicPr>
          <p:nvPr/>
        </p:nvPicPr>
        <p:blipFill>
          <a:blip r:embed="rId3">
            <a:grayscl/>
          </a:blip>
          <a:stretch>
            <a:fillRect/>
          </a:stretch>
        </p:blipFill>
        <p:spPr>
          <a:xfrm>
            <a:off x="373529" y="2081306"/>
            <a:ext cx="3251200" cy="32512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4E3864D-BF7B-BD4A-A9BF-FA47CE81DB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1644" y="2933550"/>
            <a:ext cx="299348" cy="29934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61938B4-BEF2-7C44-8AB5-0018B547E6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373" y="3552115"/>
            <a:ext cx="299348" cy="29934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2D1189A-CEFC-1744-93FF-6307E3A5DE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2679" y="3552115"/>
            <a:ext cx="299348" cy="29934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DF90D9F-A833-7E46-B3C3-B214E54E0F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1644" y="3247316"/>
            <a:ext cx="299348" cy="29934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8E68C19-0F97-654D-B7A2-068151381C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373" y="3238350"/>
            <a:ext cx="299348" cy="299348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706747A-FC11-274A-912B-6EE4024A38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9174" y="3247315"/>
            <a:ext cx="299348" cy="29934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4C843A7E-F9CE-B04F-842A-87F5B5C860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23974" y="3256280"/>
            <a:ext cx="299348" cy="29934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CCEF63D-234D-204F-884A-489C4C8481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2938" y="2951480"/>
            <a:ext cx="299348" cy="29934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D5E79B86-5AFC-AB4C-B7FC-2D2A23E573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9174" y="2942515"/>
            <a:ext cx="299348" cy="299348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30DA2617-1DDF-174E-93CF-41B62FC377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3339" y="2933550"/>
            <a:ext cx="299348" cy="29934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ECA96B81-7ACC-1340-8E8F-C5A37D2AEE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9173" y="3543150"/>
            <a:ext cx="299348" cy="299348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274917B5-BCED-354F-B6D7-8AE7C53D32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0867" y="3552115"/>
            <a:ext cx="299348" cy="299348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904E2CCF-0D9E-C74C-8428-EBB1661985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55203" y="4783791"/>
            <a:ext cx="438685" cy="394073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A798869F-4674-624A-ABB5-B6378EA9AD6D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2072328" y="2255854"/>
            <a:ext cx="209575" cy="209364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31" name="Freeform 14">
              <a:extLst>
                <a:ext uri="{FF2B5EF4-FFF2-40B4-BE49-F238E27FC236}">
                  <a16:creationId xmlns:a16="http://schemas.microsoft.com/office/drawing/2014/main" id="{DEF02CED-6D94-194F-B7B0-057C453014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57BC0319-6B83-534E-B5AB-AAE5BB1943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436049A-08C8-5841-9A84-F4F5DFAAAFDE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2968799" y="3053713"/>
            <a:ext cx="209575" cy="209364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C2C11481-94BF-F444-ABEA-8459127077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4B9C7CE7-730D-0F46-9FC6-D6988C586F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A40CC622-71B9-E845-B9C3-D9827DF59D9B}"/>
              </a:ext>
            </a:extLst>
          </p:cNvPr>
          <p:cNvSpPr txBox="1"/>
          <p:nvPr/>
        </p:nvSpPr>
        <p:spPr>
          <a:xfrm>
            <a:off x="2770093" y="2668119"/>
            <a:ext cx="56137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SSID2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04FF7A5-11BD-6A4D-A8FF-76CA0ED4E2B5}"/>
              </a:ext>
            </a:extLst>
          </p:cNvPr>
          <p:cNvSpPr txBox="1"/>
          <p:nvPr/>
        </p:nvSpPr>
        <p:spPr>
          <a:xfrm>
            <a:off x="932329" y="5420283"/>
            <a:ext cx="330571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Level 2: IoT may need to determine the “correct” SSID</a:t>
            </a:r>
          </a:p>
        </p:txBody>
      </p:sp>
      <p:sp>
        <p:nvSpPr>
          <p:cNvPr id="39" name="Rectangle 2">
            <a:extLst>
              <a:ext uri="{FF2B5EF4-FFF2-40B4-BE49-F238E27FC236}">
                <a16:creationId xmlns:a16="http://schemas.microsoft.com/office/drawing/2014/main" id="{3FE1CDBF-8C84-994E-9F98-67DCAED9EED0}"/>
              </a:ext>
            </a:extLst>
          </p:cNvPr>
          <p:cNvSpPr txBox="1">
            <a:spLocks noChangeArrowheads="1"/>
          </p:cNvSpPr>
          <p:nvPr/>
        </p:nvSpPr>
        <p:spPr>
          <a:xfrm>
            <a:off x="3797300" y="1308100"/>
            <a:ext cx="4660900" cy="47879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/>
              <a:t>In multi-tenant scenarios, the IoThing needs to know the ‘right’ SSID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/>
              <a:t>“Honest neighbors” also should not want to onboard the Thing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This can be achieved when the infrastructure proves that it “knows” the IoThing</a:t>
            </a:r>
            <a:endParaRPr lang="en-US" dirty="0">
              <a:solidFill>
                <a:schemeClr val="tx1"/>
              </a:solidFill>
            </a:endParaRP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</p:txBody>
      </p:sp>
      <p:sp>
        <p:nvSpPr>
          <p:cNvPr id="40" name="Footer Placeholder 4">
            <a:extLst>
              <a:ext uri="{FF2B5EF4-FFF2-40B4-BE49-F238E27FC236}">
                <a16:creationId xmlns:a16="http://schemas.microsoft.com/office/drawing/2014/main" id="{BC811B28-52C0-4D4A-B196-D11471E89C29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41" name="Slide Number Placeholder 3">
            <a:extLst>
              <a:ext uri="{FF2B5EF4-FFF2-40B4-BE49-F238E27FC236}">
                <a16:creationId xmlns:a16="http://schemas.microsoft.com/office/drawing/2014/main" id="{66BBBC57-2168-3A46-8F55-1360E95F8973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9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2551689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Times New Roman"/>
        <a:ea typeface="MS Gothic"/>
        <a:cs typeface=""/>
      </a:majorFont>
      <a:minorFont>
        <a:latin typeface="Times New Roman"/>
        <a:ea typeface="MS 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6F2D85B4-B705-4018-9CF0-E6E4BD03567D}" vid="{6A25E773-D890-44CD-BA7F-9C3E9F9CAE58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802-11-Submission</Template>
  <TotalTime>30123</TotalTime>
  <Words>1286</Words>
  <Application>Microsoft Macintosh PowerPoint</Application>
  <PresentationFormat>On-screen Show (4:3)</PresentationFormat>
  <Paragraphs>288</Paragraphs>
  <Slides>1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9</vt:i4>
      </vt:variant>
    </vt:vector>
  </HeadingPairs>
  <TitlesOfParts>
    <vt:vector size="28" baseType="lpstr">
      <vt:lpstr>Arial Unicode MS</vt:lpstr>
      <vt:lpstr>MS Gothic</vt:lpstr>
      <vt:lpstr>ＭＳ Ｐゴシック</vt:lpstr>
      <vt:lpstr>Arial</vt:lpstr>
      <vt:lpstr>CiscoSans ExtraLight</vt:lpstr>
      <vt:lpstr>Times New Roman</vt:lpstr>
      <vt:lpstr>Office Theme</vt:lpstr>
      <vt:lpstr>think-cell Slide</vt:lpstr>
      <vt:lpstr>Microsoft Word 97 - 2004 Document</vt:lpstr>
      <vt:lpstr>IoT Onboarding for 802.11 </vt:lpstr>
      <vt:lpstr>Abstract</vt:lpstr>
      <vt:lpstr>Basic onboarding is simple</vt:lpstr>
      <vt:lpstr>Basic Provisioning is simple</vt:lpstr>
      <vt:lpstr>Provisioning at Scale is not solved yet</vt:lpstr>
      <vt:lpstr>Provisioning at Scale is not solved yet</vt:lpstr>
      <vt:lpstr>Provisioning at Scale is not solved yet</vt:lpstr>
      <vt:lpstr>Conclusion 1</vt:lpstr>
      <vt:lpstr>Increased IoThing side Requirements</vt:lpstr>
      <vt:lpstr>Increased IoThing side Requirements</vt:lpstr>
      <vt:lpstr>IoThing Side Identifier Challenges</vt:lpstr>
      <vt:lpstr>Infrastructure Side knowledge proof</vt:lpstr>
      <vt:lpstr>Infrastructure Side knowledge proof</vt:lpstr>
      <vt:lpstr>Conclusion 2</vt:lpstr>
      <vt:lpstr>Level 3 for Secure networks</vt:lpstr>
      <vt:lpstr>Level 3 for Secure networks</vt:lpstr>
      <vt:lpstr>Approaches to onboarding</vt:lpstr>
      <vt:lpstr>Conclusion 3</vt:lpstr>
      <vt:lpstr>References</vt:lpstr>
    </vt:vector>
  </TitlesOfParts>
  <Company>Ericsson</Company>
  <LinksUpToDate>false</LinksUpToDate>
  <SharedDoc>false</SharedDoc>
  <HyperlinksChanged>false</HyperlinksChanged>
  <AppVersion>16.0014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ID 1195</dc:title>
  <dc:creator>Ericsson</dc:creator>
  <cp:lastModifiedBy>Jerome Henry</cp:lastModifiedBy>
  <cp:revision>230</cp:revision>
  <cp:lastPrinted>1601-01-01T00:00:00Z</cp:lastPrinted>
  <dcterms:created xsi:type="dcterms:W3CDTF">2018-04-24T13:33:11Z</dcterms:created>
  <dcterms:modified xsi:type="dcterms:W3CDTF">2018-11-11T06:49:58Z</dcterms:modified>
</cp:coreProperties>
</file>